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8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84" r:id="rId3"/>
    <p:sldMasterId id="2147483712" r:id="rId4"/>
    <p:sldMasterId id="2147483727" r:id="rId5"/>
  </p:sldMasterIdLst>
  <p:notesMasterIdLst>
    <p:notesMasterId r:id="rId41"/>
  </p:notesMasterIdLst>
  <p:sldIdLst>
    <p:sldId id="508" r:id="rId6"/>
    <p:sldId id="1499" r:id="rId7"/>
    <p:sldId id="507" r:id="rId8"/>
    <p:sldId id="471" r:id="rId9"/>
    <p:sldId id="472" r:id="rId10"/>
    <p:sldId id="474" r:id="rId11"/>
    <p:sldId id="476" r:id="rId12"/>
    <p:sldId id="477" r:id="rId13"/>
    <p:sldId id="478" r:id="rId14"/>
    <p:sldId id="479" r:id="rId15"/>
    <p:sldId id="496" r:id="rId16"/>
    <p:sldId id="979" r:id="rId17"/>
    <p:sldId id="977" r:id="rId18"/>
    <p:sldId id="924" r:id="rId19"/>
    <p:sldId id="925" r:id="rId20"/>
    <p:sldId id="928" r:id="rId21"/>
    <p:sldId id="695" r:id="rId22"/>
    <p:sldId id="929" r:id="rId23"/>
    <p:sldId id="930" r:id="rId24"/>
    <p:sldId id="931" r:id="rId25"/>
    <p:sldId id="1474" r:id="rId26"/>
    <p:sldId id="1480" r:id="rId27"/>
    <p:sldId id="1433" r:id="rId28"/>
    <p:sldId id="1420" r:id="rId29"/>
    <p:sldId id="1443" r:id="rId30"/>
    <p:sldId id="1460" r:id="rId31"/>
    <p:sldId id="494" r:id="rId32"/>
    <p:sldId id="416" r:id="rId33"/>
    <p:sldId id="509" r:id="rId34"/>
    <p:sldId id="510" r:id="rId35"/>
    <p:sldId id="511" r:id="rId36"/>
    <p:sldId id="1501" r:id="rId37"/>
    <p:sldId id="1502" r:id="rId38"/>
    <p:sldId id="1503" r:id="rId39"/>
    <p:sldId id="1500" r:id="rId40"/>
  </p:sldIdLst>
  <p:sldSz cx="9144000" cy="6858000" type="screen4x3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4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orient="horz" pos="3430">
          <p15:clr>
            <a:srgbClr val="A4A3A4"/>
          </p15:clr>
        </p15:guide>
        <p15:guide id="4" orient="horz" pos="4035">
          <p15:clr>
            <a:srgbClr val="A4A3A4"/>
          </p15:clr>
        </p15:guide>
        <p15:guide id="5" orient="horz" pos="4159">
          <p15:clr>
            <a:srgbClr val="A4A3A4"/>
          </p15:clr>
        </p15:guide>
        <p15:guide id="6" pos="204">
          <p15:clr>
            <a:srgbClr val="A4A3A4"/>
          </p15:clr>
        </p15:guide>
        <p15:guide id="7" pos="1474">
          <p15:clr>
            <a:srgbClr val="A4A3A4"/>
          </p15:clr>
        </p15:guide>
        <p15:guide id="8" pos="1565">
          <p15:clr>
            <a:srgbClr val="A4A3A4"/>
          </p15:clr>
        </p15:guide>
        <p15:guide id="9" pos="2835">
          <p15:clr>
            <a:srgbClr val="A4A3A4"/>
          </p15:clr>
        </p15:guide>
        <p15:guide id="10" pos="2925">
          <p15:clr>
            <a:srgbClr val="A4A3A4"/>
          </p15:clr>
        </p15:guide>
        <p15:guide id="11" pos="4195">
          <p15:clr>
            <a:srgbClr val="A4A3A4"/>
          </p15:clr>
        </p15:guide>
        <p15:guide id="12" pos="4286">
          <p15:clr>
            <a:srgbClr val="A4A3A4"/>
          </p15:clr>
        </p15:guide>
        <p15:guide id="13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D96872-99E0-4B7D-9E5D-94E5B4F4612F}" v="119" dt="2024-10-24T19:55:30.7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31" autoAdjust="0"/>
    <p:restoredTop sz="94660"/>
  </p:normalViewPr>
  <p:slideViewPr>
    <p:cSldViewPr snapToGrid="0">
      <p:cViewPr varScale="1">
        <p:scale>
          <a:sx n="123" d="100"/>
          <a:sy n="123" d="100"/>
        </p:scale>
        <p:origin x="1122" y="102"/>
      </p:cViewPr>
      <p:guideLst>
        <p:guide orient="horz" pos="754"/>
        <p:guide orient="horz" pos="935"/>
        <p:guide orient="horz" pos="3430"/>
        <p:guide orient="horz" pos="4035"/>
        <p:guide orient="horz" pos="4159"/>
        <p:guide pos="204"/>
        <p:guide pos="1474"/>
        <p:guide pos="1565"/>
        <p:guide pos="2835"/>
        <p:guide pos="2925"/>
        <p:guide pos="4195"/>
        <p:guide pos="4286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35" d="100"/>
        <a:sy n="35" d="100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-3528" y="-108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zniak Pawel" userId="7eb7639e-be06-4e70-b426-88416622b795" providerId="ADAL" clId="{48D96872-99E0-4B7D-9E5D-94E5B4F4612F}"/>
    <pc:docChg chg="undo custSel addSld delSld modSld">
      <pc:chgData name="Pozniak Pawel" userId="7eb7639e-be06-4e70-b426-88416622b795" providerId="ADAL" clId="{48D96872-99E0-4B7D-9E5D-94E5B4F4612F}" dt="2024-10-24T19:55:45.761" v="756" actId="2696"/>
      <pc:docMkLst>
        <pc:docMk/>
      </pc:docMkLst>
      <pc:sldChg chg="addSp delSp modSp mod">
        <pc:chgData name="Pozniak Pawel" userId="7eb7639e-be06-4e70-b426-88416622b795" providerId="ADAL" clId="{48D96872-99E0-4B7D-9E5D-94E5B4F4612F}" dt="2024-10-24T19:09:33.683" v="253" actId="962"/>
        <pc:sldMkLst>
          <pc:docMk/>
          <pc:sldMk cId="1927172067" sldId="472"/>
        </pc:sldMkLst>
        <pc:spChg chg="del">
          <ac:chgData name="Pozniak Pawel" userId="7eb7639e-be06-4e70-b426-88416622b795" providerId="ADAL" clId="{48D96872-99E0-4B7D-9E5D-94E5B4F4612F}" dt="2024-10-24T19:09:32.281" v="251"/>
          <ac:spMkLst>
            <pc:docMk/>
            <pc:sldMk cId="1927172067" sldId="472"/>
            <ac:spMk id="3" creationId="{1A6EDA84-605D-19C7-DBB9-2618F037676B}"/>
          </ac:spMkLst>
        </pc:spChg>
        <pc:picChg chg="add mod">
          <ac:chgData name="Pozniak Pawel" userId="7eb7639e-be06-4e70-b426-88416622b795" providerId="ADAL" clId="{48D96872-99E0-4B7D-9E5D-94E5B4F4612F}" dt="2024-10-24T19:09:33.683" v="253" actId="962"/>
          <ac:picMkLst>
            <pc:docMk/>
            <pc:sldMk cId="1927172067" sldId="472"/>
            <ac:picMk id="6" creationId="{5FFD8659-7E0A-4AF6-4861-ADB1EB1B3963}"/>
          </ac:picMkLst>
        </pc:picChg>
        <pc:picChg chg="del">
          <ac:chgData name="Pozniak Pawel" userId="7eb7639e-be06-4e70-b426-88416622b795" providerId="ADAL" clId="{48D96872-99E0-4B7D-9E5D-94E5B4F4612F}" dt="2024-10-24T19:09:27.942" v="250" actId="478"/>
          <ac:picMkLst>
            <pc:docMk/>
            <pc:sldMk cId="1927172067" sldId="472"/>
            <ac:picMk id="9" creationId="{7524CD4D-AD1D-06D3-13BF-E187E269AB1F}"/>
          </ac:picMkLst>
        </pc:picChg>
      </pc:sldChg>
      <pc:sldChg chg="addSp delSp modSp mod">
        <pc:chgData name="Pozniak Pawel" userId="7eb7639e-be06-4e70-b426-88416622b795" providerId="ADAL" clId="{48D96872-99E0-4B7D-9E5D-94E5B4F4612F}" dt="2024-10-24T19:12:21.469" v="282" actId="1076"/>
        <pc:sldMkLst>
          <pc:docMk/>
          <pc:sldMk cId="885972240" sldId="474"/>
        </pc:sldMkLst>
        <pc:picChg chg="add mod">
          <ac:chgData name="Pozniak Pawel" userId="7eb7639e-be06-4e70-b426-88416622b795" providerId="ADAL" clId="{48D96872-99E0-4B7D-9E5D-94E5B4F4612F}" dt="2024-10-24T19:10:37.428" v="258"/>
          <ac:picMkLst>
            <pc:docMk/>
            <pc:sldMk cId="885972240" sldId="474"/>
            <ac:picMk id="5" creationId="{3601AEF4-5387-0417-F8E7-FD4D62AFAA00}"/>
          </ac:picMkLst>
        </pc:picChg>
        <pc:picChg chg="add mod">
          <ac:chgData name="Pozniak Pawel" userId="7eb7639e-be06-4e70-b426-88416622b795" providerId="ADAL" clId="{48D96872-99E0-4B7D-9E5D-94E5B4F4612F}" dt="2024-10-24T19:12:16.708" v="281" actId="14100"/>
          <ac:picMkLst>
            <pc:docMk/>
            <pc:sldMk cId="885972240" sldId="474"/>
            <ac:picMk id="8" creationId="{D3CDEC42-4DD1-EFE0-C8A9-F7947A33638D}"/>
          </ac:picMkLst>
        </pc:picChg>
        <pc:picChg chg="mod">
          <ac:chgData name="Pozniak Pawel" userId="7eb7639e-be06-4e70-b426-88416622b795" providerId="ADAL" clId="{48D96872-99E0-4B7D-9E5D-94E5B4F4612F}" dt="2024-10-24T19:12:21.469" v="282" actId="1076"/>
          <ac:picMkLst>
            <pc:docMk/>
            <pc:sldMk cId="885972240" sldId="474"/>
            <ac:picMk id="9" creationId="{00000000-0000-0000-0000-000000000000}"/>
          </ac:picMkLst>
        </pc:picChg>
        <pc:picChg chg="del">
          <ac:chgData name="Pozniak Pawel" userId="7eb7639e-be06-4e70-b426-88416622b795" providerId="ADAL" clId="{48D96872-99E0-4B7D-9E5D-94E5B4F4612F}" dt="2024-10-24T19:11:15.379" v="262" actId="478"/>
          <ac:picMkLst>
            <pc:docMk/>
            <pc:sldMk cId="885972240" sldId="474"/>
            <ac:picMk id="10" creationId="{00000000-0000-0000-0000-000000000000}"/>
          </ac:picMkLst>
        </pc:picChg>
        <pc:picChg chg="del mod">
          <ac:chgData name="Pozniak Pawel" userId="7eb7639e-be06-4e70-b426-88416622b795" providerId="ADAL" clId="{48D96872-99E0-4B7D-9E5D-94E5B4F4612F}" dt="2024-10-24T19:11:56.331" v="271" actId="478"/>
          <ac:picMkLst>
            <pc:docMk/>
            <pc:sldMk cId="885972240" sldId="474"/>
            <ac:picMk id="11" creationId="{00000000-0000-0000-0000-000000000000}"/>
          </ac:picMkLst>
        </pc:picChg>
        <pc:picChg chg="add mod">
          <ac:chgData name="Pozniak Pawel" userId="7eb7639e-be06-4e70-b426-88416622b795" providerId="ADAL" clId="{48D96872-99E0-4B7D-9E5D-94E5B4F4612F}" dt="2024-10-24T19:12:06.767" v="277" actId="14100"/>
          <ac:picMkLst>
            <pc:docMk/>
            <pc:sldMk cId="885972240" sldId="474"/>
            <ac:picMk id="13" creationId="{B9ECAE48-BD42-1C93-CFFA-79D55AB21D3B}"/>
          </ac:picMkLst>
        </pc:picChg>
      </pc:sldChg>
      <pc:sldChg chg="addSp delSp modSp mod">
        <pc:chgData name="Pozniak Pawel" userId="7eb7639e-be06-4e70-b426-88416622b795" providerId="ADAL" clId="{48D96872-99E0-4B7D-9E5D-94E5B4F4612F}" dt="2024-10-24T19:13:14.030" v="289" actId="1076"/>
        <pc:sldMkLst>
          <pc:docMk/>
          <pc:sldMk cId="321830947" sldId="477"/>
        </pc:sldMkLst>
        <pc:picChg chg="add mod">
          <ac:chgData name="Pozniak Pawel" userId="7eb7639e-be06-4e70-b426-88416622b795" providerId="ADAL" clId="{48D96872-99E0-4B7D-9E5D-94E5B4F4612F}" dt="2024-10-24T19:13:14.030" v="289" actId="1076"/>
          <ac:picMkLst>
            <pc:docMk/>
            <pc:sldMk cId="321830947" sldId="477"/>
            <ac:picMk id="6" creationId="{5F9C0BC8-DC1C-F433-B3D0-C7A7C211A271}"/>
          </ac:picMkLst>
        </pc:picChg>
        <pc:picChg chg="del">
          <ac:chgData name="Pozniak Pawel" userId="7eb7639e-be06-4e70-b426-88416622b795" providerId="ADAL" clId="{48D96872-99E0-4B7D-9E5D-94E5B4F4612F}" dt="2024-10-24T19:13:06.627" v="283" actId="478"/>
          <ac:picMkLst>
            <pc:docMk/>
            <pc:sldMk cId="321830947" sldId="477"/>
            <ac:picMk id="10" creationId="{00000000-0000-0000-0000-000000000000}"/>
          </ac:picMkLst>
        </pc:picChg>
      </pc:sldChg>
      <pc:sldChg chg="addSp delSp modSp mod">
        <pc:chgData name="Pozniak Pawel" userId="7eb7639e-be06-4e70-b426-88416622b795" providerId="ADAL" clId="{48D96872-99E0-4B7D-9E5D-94E5B4F4612F}" dt="2024-10-24T19:14:04.916" v="332" actId="20577"/>
        <pc:sldMkLst>
          <pc:docMk/>
          <pc:sldMk cId="1890393156" sldId="478"/>
        </pc:sldMkLst>
        <pc:graphicFrameChg chg="modGraphic">
          <ac:chgData name="Pozniak Pawel" userId="7eb7639e-be06-4e70-b426-88416622b795" providerId="ADAL" clId="{48D96872-99E0-4B7D-9E5D-94E5B4F4612F}" dt="2024-10-24T19:14:04.916" v="332" actId="20577"/>
          <ac:graphicFrameMkLst>
            <pc:docMk/>
            <pc:sldMk cId="1890393156" sldId="478"/>
            <ac:graphicFrameMk id="3" creationId="{00000000-0000-0000-0000-000000000000}"/>
          </ac:graphicFrameMkLst>
        </pc:graphicFrameChg>
        <pc:picChg chg="del">
          <ac:chgData name="Pozniak Pawel" userId="7eb7639e-be06-4e70-b426-88416622b795" providerId="ADAL" clId="{48D96872-99E0-4B7D-9E5D-94E5B4F4612F}" dt="2024-10-24T19:13:18.746" v="290" actId="478"/>
          <ac:picMkLst>
            <pc:docMk/>
            <pc:sldMk cId="1890393156" sldId="478"/>
            <ac:picMk id="9" creationId="{00000000-0000-0000-0000-000000000000}"/>
          </ac:picMkLst>
        </pc:picChg>
        <pc:picChg chg="add mod">
          <ac:chgData name="Pozniak Pawel" userId="7eb7639e-be06-4e70-b426-88416622b795" providerId="ADAL" clId="{48D96872-99E0-4B7D-9E5D-94E5B4F4612F}" dt="2024-10-24T19:13:36.472" v="295" actId="1076"/>
          <ac:picMkLst>
            <pc:docMk/>
            <pc:sldMk cId="1890393156" sldId="478"/>
            <ac:picMk id="10" creationId="{D2D4DF2F-15B6-3498-72FC-3DFA45504294}"/>
          </ac:picMkLst>
        </pc:picChg>
      </pc:sldChg>
      <pc:sldChg chg="addSp delSp modSp mod">
        <pc:chgData name="Pozniak Pawel" userId="7eb7639e-be06-4e70-b426-88416622b795" providerId="ADAL" clId="{48D96872-99E0-4B7D-9E5D-94E5B4F4612F}" dt="2024-10-24T19:15:24.412" v="343" actId="1076"/>
        <pc:sldMkLst>
          <pc:docMk/>
          <pc:sldMk cId="4000569626" sldId="479"/>
        </pc:sldMkLst>
        <pc:picChg chg="add mod">
          <ac:chgData name="Pozniak Pawel" userId="7eb7639e-be06-4e70-b426-88416622b795" providerId="ADAL" clId="{48D96872-99E0-4B7D-9E5D-94E5B4F4612F}" dt="2024-10-24T19:15:24.412" v="343" actId="1076"/>
          <ac:picMkLst>
            <pc:docMk/>
            <pc:sldMk cId="4000569626" sldId="479"/>
            <ac:picMk id="9" creationId="{74925F0B-EF20-A217-D210-C0BC0EB881F7}"/>
          </ac:picMkLst>
        </pc:picChg>
        <pc:picChg chg="del">
          <ac:chgData name="Pozniak Pawel" userId="7eb7639e-be06-4e70-b426-88416622b795" providerId="ADAL" clId="{48D96872-99E0-4B7D-9E5D-94E5B4F4612F}" dt="2024-10-24T19:14:12.384" v="335" actId="478"/>
          <ac:picMkLst>
            <pc:docMk/>
            <pc:sldMk cId="4000569626" sldId="479"/>
            <ac:picMk id="10" creationId="{00000000-0000-0000-0000-000000000000}"/>
          </ac:picMkLst>
        </pc:picChg>
        <pc:picChg chg="del">
          <ac:chgData name="Pozniak Pawel" userId="7eb7639e-be06-4e70-b426-88416622b795" providerId="ADAL" clId="{48D96872-99E0-4B7D-9E5D-94E5B4F4612F}" dt="2024-10-24T19:14:09.933" v="334" actId="478"/>
          <ac:picMkLst>
            <pc:docMk/>
            <pc:sldMk cId="4000569626" sldId="479"/>
            <ac:picMk id="11" creationId="{00000000-0000-0000-0000-000000000000}"/>
          </ac:picMkLst>
        </pc:picChg>
        <pc:picChg chg="del">
          <ac:chgData name="Pozniak Pawel" userId="7eb7639e-be06-4e70-b426-88416622b795" providerId="ADAL" clId="{48D96872-99E0-4B7D-9E5D-94E5B4F4612F}" dt="2024-10-24T19:14:08.800" v="333" actId="478"/>
          <ac:picMkLst>
            <pc:docMk/>
            <pc:sldMk cId="4000569626" sldId="479"/>
            <ac:picMk id="12" creationId="{00000000-0000-0000-0000-000000000000}"/>
          </ac:picMkLst>
        </pc:picChg>
      </pc:sldChg>
      <pc:sldChg chg="addSp delSp modSp mod">
        <pc:chgData name="Pozniak Pawel" userId="7eb7639e-be06-4e70-b426-88416622b795" providerId="ADAL" clId="{48D96872-99E0-4B7D-9E5D-94E5B4F4612F}" dt="2024-10-24T19:47:43.200" v="716" actId="1076"/>
        <pc:sldMkLst>
          <pc:docMk/>
          <pc:sldMk cId="134371283" sldId="494"/>
        </pc:sldMkLst>
        <pc:spChg chg="mod">
          <ac:chgData name="Pozniak Pawel" userId="7eb7639e-be06-4e70-b426-88416622b795" providerId="ADAL" clId="{48D96872-99E0-4B7D-9E5D-94E5B4F4612F}" dt="2024-10-24T19:43:11.394" v="699" actId="2711"/>
          <ac:spMkLst>
            <pc:docMk/>
            <pc:sldMk cId="134371283" sldId="494"/>
            <ac:spMk id="2" creationId="{00000000-0000-0000-0000-000000000000}"/>
          </ac:spMkLst>
        </pc:spChg>
        <pc:spChg chg="add del">
          <ac:chgData name="Pozniak Pawel" userId="7eb7639e-be06-4e70-b426-88416622b795" providerId="ADAL" clId="{48D96872-99E0-4B7D-9E5D-94E5B4F4612F}" dt="2024-10-24T19:44:29.405" v="701" actId="22"/>
          <ac:spMkLst>
            <pc:docMk/>
            <pc:sldMk cId="134371283" sldId="494"/>
            <ac:spMk id="5" creationId="{2724E88E-7A5A-0103-BDC9-A6BCC1E8C011}"/>
          </ac:spMkLst>
        </pc:spChg>
        <pc:graphicFrameChg chg="del modGraphic">
          <ac:chgData name="Pozniak Pawel" userId="7eb7639e-be06-4e70-b426-88416622b795" providerId="ADAL" clId="{48D96872-99E0-4B7D-9E5D-94E5B4F4612F}" dt="2024-10-24T19:31:46.282" v="698" actId="478"/>
          <ac:graphicFrameMkLst>
            <pc:docMk/>
            <pc:sldMk cId="134371283" sldId="494"/>
            <ac:graphicFrameMk id="3" creationId="{00000000-0000-0000-0000-000000000000}"/>
          </ac:graphicFrameMkLst>
        </pc:graphicFrameChg>
        <pc:picChg chg="add mod">
          <ac:chgData name="Pozniak Pawel" userId="7eb7639e-be06-4e70-b426-88416622b795" providerId="ADAL" clId="{48D96872-99E0-4B7D-9E5D-94E5B4F4612F}" dt="2024-10-24T19:44:47.034" v="706" actId="1076"/>
          <ac:picMkLst>
            <pc:docMk/>
            <pc:sldMk cId="134371283" sldId="494"/>
            <ac:picMk id="8" creationId="{4177DB8A-1643-AABA-F205-04A8D974BFCB}"/>
          </ac:picMkLst>
        </pc:picChg>
        <pc:picChg chg="add mod">
          <ac:chgData name="Pozniak Pawel" userId="7eb7639e-be06-4e70-b426-88416622b795" providerId="ADAL" clId="{48D96872-99E0-4B7D-9E5D-94E5B4F4612F}" dt="2024-10-24T19:45:04.486" v="712" actId="14100"/>
          <ac:picMkLst>
            <pc:docMk/>
            <pc:sldMk cId="134371283" sldId="494"/>
            <ac:picMk id="10" creationId="{D0BE2404-B056-D843-333A-EFF948B96ECE}"/>
          </ac:picMkLst>
        </pc:picChg>
        <pc:picChg chg="add mod">
          <ac:chgData name="Pozniak Pawel" userId="7eb7639e-be06-4e70-b426-88416622b795" providerId="ADAL" clId="{48D96872-99E0-4B7D-9E5D-94E5B4F4612F}" dt="2024-10-24T19:47:43.200" v="716" actId="1076"/>
          <ac:picMkLst>
            <pc:docMk/>
            <pc:sldMk cId="134371283" sldId="494"/>
            <ac:picMk id="12" creationId="{63C1CB5C-8D1E-2313-B467-5FE2CD3D9210}"/>
          </ac:picMkLst>
        </pc:picChg>
      </pc:sldChg>
      <pc:sldChg chg="del">
        <pc:chgData name="Pozniak Pawel" userId="7eb7639e-be06-4e70-b426-88416622b795" providerId="ADAL" clId="{48D96872-99E0-4B7D-9E5D-94E5B4F4612F}" dt="2024-10-21T17:59:57.893" v="135" actId="2696"/>
        <pc:sldMkLst>
          <pc:docMk/>
          <pc:sldMk cId="429672211" sldId="497"/>
        </pc:sldMkLst>
      </pc:sldChg>
      <pc:sldChg chg="addSp delSp modSp mod">
        <pc:chgData name="Pozniak Pawel" userId="7eb7639e-be06-4e70-b426-88416622b795" providerId="ADAL" clId="{48D96872-99E0-4B7D-9E5D-94E5B4F4612F}" dt="2024-10-24T19:07:56.856" v="248" actId="113"/>
        <pc:sldMkLst>
          <pc:docMk/>
          <pc:sldMk cId="223357862" sldId="508"/>
        </pc:sldMkLst>
        <pc:spChg chg="del">
          <ac:chgData name="Pozniak Pawel" userId="7eb7639e-be06-4e70-b426-88416622b795" providerId="ADAL" clId="{48D96872-99E0-4B7D-9E5D-94E5B4F4612F}" dt="2024-10-24T19:05:45.518" v="222" actId="478"/>
          <ac:spMkLst>
            <pc:docMk/>
            <pc:sldMk cId="223357862" sldId="508"/>
            <ac:spMk id="2" creationId="{24DE0E22-FF20-C13A-0381-798CBA3741E1}"/>
          </ac:spMkLst>
        </pc:spChg>
        <pc:spChg chg="add del mod">
          <ac:chgData name="Pozniak Pawel" userId="7eb7639e-be06-4e70-b426-88416622b795" providerId="ADAL" clId="{48D96872-99E0-4B7D-9E5D-94E5B4F4612F}" dt="2024-10-24T19:05:55.837" v="225" actId="478"/>
          <ac:spMkLst>
            <pc:docMk/>
            <pc:sldMk cId="223357862" sldId="508"/>
            <ac:spMk id="3" creationId="{75CAC211-CF0A-28D2-AE0D-B337F1994CAE}"/>
          </ac:spMkLst>
        </pc:spChg>
        <pc:spChg chg="del">
          <ac:chgData name="Pozniak Pawel" userId="7eb7639e-be06-4e70-b426-88416622b795" providerId="ADAL" clId="{48D96872-99E0-4B7D-9E5D-94E5B4F4612F}" dt="2024-10-24T19:05:54.196" v="224" actId="478"/>
          <ac:spMkLst>
            <pc:docMk/>
            <pc:sldMk cId="223357862" sldId="508"/>
            <ac:spMk id="6" creationId="{EDD3414F-2000-97BF-4C94-C849B521EC2E}"/>
          </ac:spMkLst>
        </pc:spChg>
        <pc:spChg chg="mod">
          <ac:chgData name="Pozniak Pawel" userId="7eb7639e-be06-4e70-b426-88416622b795" providerId="ADAL" clId="{48D96872-99E0-4B7D-9E5D-94E5B4F4612F}" dt="2024-10-24T19:06:38.266" v="234"/>
          <ac:spMkLst>
            <pc:docMk/>
            <pc:sldMk cId="223357862" sldId="508"/>
            <ac:spMk id="7" creationId="{CE33996A-3895-4A0A-101B-8C03836EBD0E}"/>
          </ac:spMkLst>
        </pc:spChg>
        <pc:spChg chg="del">
          <ac:chgData name="Pozniak Pawel" userId="7eb7639e-be06-4e70-b426-88416622b795" providerId="ADAL" clId="{48D96872-99E0-4B7D-9E5D-94E5B4F4612F}" dt="2024-10-24T19:05:48.697" v="223" actId="478"/>
          <ac:spMkLst>
            <pc:docMk/>
            <pc:sldMk cId="223357862" sldId="508"/>
            <ac:spMk id="8" creationId="{2B97401F-E159-3E21-9201-EFF4FC7608FB}"/>
          </ac:spMkLst>
        </pc:spChg>
        <pc:spChg chg="add mod">
          <ac:chgData name="Pozniak Pawel" userId="7eb7639e-be06-4e70-b426-88416622b795" providerId="ADAL" clId="{48D96872-99E0-4B7D-9E5D-94E5B4F4612F}" dt="2024-10-24T19:07:56.856" v="248" actId="113"/>
          <ac:spMkLst>
            <pc:docMk/>
            <pc:sldMk cId="223357862" sldId="508"/>
            <ac:spMk id="11" creationId="{BD7502C9-9E85-D089-1BF4-BA0FB0C96D9C}"/>
          </ac:spMkLst>
        </pc:spChg>
        <pc:picChg chg="del">
          <ac:chgData name="Pozniak Pawel" userId="7eb7639e-be06-4e70-b426-88416622b795" providerId="ADAL" clId="{48D96872-99E0-4B7D-9E5D-94E5B4F4612F}" dt="2024-10-24T19:05:42.697" v="221" actId="478"/>
          <ac:picMkLst>
            <pc:docMk/>
            <pc:sldMk cId="223357862" sldId="508"/>
            <ac:picMk id="9" creationId="{A5692E15-6822-9333-F57B-A70E92E647F3}"/>
          </ac:picMkLst>
        </pc:picChg>
        <pc:picChg chg="add mod">
          <ac:chgData name="Pozniak Pawel" userId="7eb7639e-be06-4e70-b426-88416622b795" providerId="ADAL" clId="{48D96872-99E0-4B7D-9E5D-94E5B4F4612F}" dt="2024-10-24T19:06:27.045" v="232" actId="14100"/>
          <ac:picMkLst>
            <pc:docMk/>
            <pc:sldMk cId="223357862" sldId="508"/>
            <ac:picMk id="10" creationId="{5E127DB7-E3EB-7940-E842-2C7C3869F7BC}"/>
          </ac:picMkLst>
        </pc:picChg>
      </pc:sldChg>
      <pc:sldChg chg="del">
        <pc:chgData name="Pozniak Pawel" userId="7eb7639e-be06-4e70-b426-88416622b795" providerId="ADAL" clId="{48D96872-99E0-4B7D-9E5D-94E5B4F4612F}" dt="2024-10-24T19:47:53.559" v="717" actId="2696"/>
        <pc:sldMkLst>
          <pc:docMk/>
          <pc:sldMk cId="1105232673" sldId="512"/>
        </pc:sldMkLst>
      </pc:sldChg>
      <pc:sldChg chg="addSp modSp del">
        <pc:chgData name="Pozniak Pawel" userId="7eb7639e-be06-4e70-b426-88416622b795" providerId="ADAL" clId="{48D96872-99E0-4B7D-9E5D-94E5B4F4612F}" dt="2024-10-24T19:49:46.283" v="725" actId="2696"/>
        <pc:sldMkLst>
          <pc:docMk/>
          <pc:sldMk cId="2451066192" sldId="513"/>
        </pc:sldMkLst>
        <pc:spChg chg="add mod">
          <ac:chgData name="Pozniak Pawel" userId="7eb7639e-be06-4e70-b426-88416622b795" providerId="ADAL" clId="{48D96872-99E0-4B7D-9E5D-94E5B4F4612F}" dt="2024-10-21T17:54:50.573" v="126"/>
          <ac:spMkLst>
            <pc:docMk/>
            <pc:sldMk cId="2451066192" sldId="513"/>
            <ac:spMk id="10" creationId="{37963F39-7B8C-17C5-73C6-18EB0F37DDE7}"/>
          </ac:spMkLst>
        </pc:spChg>
        <pc:spChg chg="add mod">
          <ac:chgData name="Pozniak Pawel" userId="7eb7639e-be06-4e70-b426-88416622b795" providerId="ADAL" clId="{48D96872-99E0-4B7D-9E5D-94E5B4F4612F}" dt="2024-10-21T17:54:48.877" v="125"/>
          <ac:spMkLst>
            <pc:docMk/>
            <pc:sldMk cId="2451066192" sldId="513"/>
            <ac:spMk id="11" creationId="{A5AB26A6-A3B1-27AA-0F65-C8913A6BD910}"/>
          </ac:spMkLst>
        </pc:spChg>
      </pc:sldChg>
      <pc:sldChg chg="del">
        <pc:chgData name="Pozniak Pawel" userId="7eb7639e-be06-4e70-b426-88416622b795" providerId="ADAL" clId="{48D96872-99E0-4B7D-9E5D-94E5B4F4612F}" dt="2024-10-24T19:49:30.603" v="724" actId="2696"/>
        <pc:sldMkLst>
          <pc:docMk/>
          <pc:sldMk cId="104660422" sldId="514"/>
        </pc:sldMkLst>
      </pc:sldChg>
      <pc:sldChg chg="modSp add mod">
        <pc:chgData name="Pozniak Pawel" userId="7eb7639e-be06-4e70-b426-88416622b795" providerId="ADAL" clId="{48D96872-99E0-4B7D-9E5D-94E5B4F4612F}" dt="2024-10-24T19:21:28.515" v="434" actId="20577"/>
        <pc:sldMkLst>
          <pc:docMk/>
          <pc:sldMk cId="0" sldId="695"/>
        </pc:sldMkLst>
        <pc:spChg chg="mod">
          <ac:chgData name="Pozniak Pawel" userId="7eb7639e-be06-4e70-b426-88416622b795" providerId="ADAL" clId="{48D96872-99E0-4B7D-9E5D-94E5B4F4612F}" dt="2024-10-24T19:21:28.515" v="434" actId="20577"/>
          <ac:spMkLst>
            <pc:docMk/>
            <pc:sldMk cId="0" sldId="695"/>
            <ac:spMk id="7" creationId="{2348A43D-9BA8-4D51-BCEE-2E9D9542EC0C}"/>
          </ac:spMkLst>
        </pc:spChg>
        <pc:spChg chg="mod">
          <ac:chgData name="Pozniak Pawel" userId="7eb7639e-be06-4e70-b426-88416622b795" providerId="ADAL" clId="{48D96872-99E0-4B7D-9E5D-94E5B4F4612F}" dt="2024-10-24T19:20:42.826" v="417" actId="20577"/>
          <ac:spMkLst>
            <pc:docMk/>
            <pc:sldMk cId="0" sldId="695"/>
            <ac:spMk id="8" creationId="{FC243AB2-F843-6B27-9011-6FFA1DF3EF3A}"/>
          </ac:spMkLst>
        </pc:spChg>
      </pc:sldChg>
      <pc:sldChg chg="modSp mod">
        <pc:chgData name="Pozniak Pawel" userId="7eb7639e-be06-4e70-b426-88416622b795" providerId="ADAL" clId="{48D96872-99E0-4B7D-9E5D-94E5B4F4612F}" dt="2024-10-24T19:16:33.856" v="346" actId="20577"/>
        <pc:sldMkLst>
          <pc:docMk/>
          <pc:sldMk cId="2523218132" sldId="925"/>
        </pc:sldMkLst>
        <pc:spChg chg="mod">
          <ac:chgData name="Pozniak Pawel" userId="7eb7639e-be06-4e70-b426-88416622b795" providerId="ADAL" clId="{48D96872-99E0-4B7D-9E5D-94E5B4F4612F}" dt="2024-10-24T19:16:33.856" v="346" actId="20577"/>
          <ac:spMkLst>
            <pc:docMk/>
            <pc:sldMk cId="2523218132" sldId="925"/>
            <ac:spMk id="3" creationId="{00000000-0000-0000-0000-000000000000}"/>
          </ac:spMkLst>
        </pc:spChg>
      </pc:sldChg>
      <pc:sldChg chg="modSp add mod">
        <pc:chgData name="Pozniak Pawel" userId="7eb7639e-be06-4e70-b426-88416622b795" providerId="ADAL" clId="{48D96872-99E0-4B7D-9E5D-94E5B4F4612F}" dt="2024-10-24T19:17:19.735" v="358" actId="255"/>
        <pc:sldMkLst>
          <pc:docMk/>
          <pc:sldMk cId="3269791775" sldId="928"/>
        </pc:sldMkLst>
        <pc:spChg chg="mod">
          <ac:chgData name="Pozniak Pawel" userId="7eb7639e-be06-4e70-b426-88416622b795" providerId="ADAL" clId="{48D96872-99E0-4B7D-9E5D-94E5B4F4612F}" dt="2024-10-21T17:50:03.599" v="2" actId="20577"/>
          <ac:spMkLst>
            <pc:docMk/>
            <pc:sldMk cId="3269791775" sldId="928"/>
            <ac:spMk id="2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4T19:17:19.735" v="358" actId="255"/>
          <ac:spMkLst>
            <pc:docMk/>
            <pc:sldMk cId="3269791775" sldId="928"/>
            <ac:spMk id="12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1T17:52:34.437" v="119"/>
          <ac:spMkLst>
            <pc:docMk/>
            <pc:sldMk cId="3269791775" sldId="928"/>
            <ac:spMk id="14" creationId="{00000000-0000-0000-0000-000000000000}"/>
          </ac:spMkLst>
        </pc:spChg>
      </pc:sldChg>
      <pc:sldChg chg="modSp add mod">
        <pc:chgData name="Pozniak Pawel" userId="7eb7639e-be06-4e70-b426-88416622b795" providerId="ADAL" clId="{48D96872-99E0-4B7D-9E5D-94E5B4F4612F}" dt="2024-10-24T19:22:12.818" v="457" actId="14100"/>
        <pc:sldMkLst>
          <pc:docMk/>
          <pc:sldMk cId="2990473892" sldId="929"/>
        </pc:sldMkLst>
        <pc:spChg chg="mod">
          <ac:chgData name="Pozniak Pawel" userId="7eb7639e-be06-4e70-b426-88416622b795" providerId="ADAL" clId="{48D96872-99E0-4B7D-9E5D-94E5B4F4612F}" dt="2024-10-24T19:21:12.836" v="420" actId="1076"/>
          <ac:spMkLst>
            <pc:docMk/>
            <pc:sldMk cId="2990473892" sldId="929"/>
            <ac:spMk id="2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4T19:22:12.818" v="457" actId="14100"/>
          <ac:spMkLst>
            <pc:docMk/>
            <pc:sldMk cId="2990473892" sldId="929"/>
            <ac:spMk id="12" creationId="{00000000-0000-0000-0000-000000000000}"/>
          </ac:spMkLst>
        </pc:spChg>
      </pc:sldChg>
      <pc:sldChg chg="modSp add mod">
        <pc:chgData name="Pozniak Pawel" userId="7eb7639e-be06-4e70-b426-88416622b795" providerId="ADAL" clId="{48D96872-99E0-4B7D-9E5D-94E5B4F4612F}" dt="2024-10-24T19:24:21.483" v="538" actId="20577"/>
        <pc:sldMkLst>
          <pc:docMk/>
          <pc:sldMk cId="2043005367" sldId="930"/>
        </pc:sldMkLst>
        <pc:spChg chg="mod">
          <ac:chgData name="Pozniak Pawel" userId="7eb7639e-be06-4e70-b426-88416622b795" providerId="ADAL" clId="{48D96872-99E0-4B7D-9E5D-94E5B4F4612F}" dt="2024-10-24T19:22:46.359" v="459" actId="255"/>
          <ac:spMkLst>
            <pc:docMk/>
            <pc:sldMk cId="2043005367" sldId="930"/>
            <ac:spMk id="2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4T19:22:58.496" v="460"/>
          <ac:spMkLst>
            <pc:docMk/>
            <pc:sldMk cId="2043005367" sldId="930"/>
            <ac:spMk id="12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4T19:24:21.483" v="538" actId="20577"/>
          <ac:spMkLst>
            <pc:docMk/>
            <pc:sldMk cId="2043005367" sldId="930"/>
            <ac:spMk id="47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4T19:23:48.736" v="487" actId="20577"/>
          <ac:spMkLst>
            <pc:docMk/>
            <pc:sldMk cId="2043005367" sldId="930"/>
            <ac:spMk id="53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4T19:24:05.286" v="506" actId="20577"/>
          <ac:spMkLst>
            <pc:docMk/>
            <pc:sldMk cId="2043005367" sldId="930"/>
            <ac:spMk id="60" creationId="{00000000-0000-0000-0000-000000000000}"/>
          </ac:spMkLst>
        </pc:spChg>
      </pc:sldChg>
      <pc:sldChg chg="addSp delSp modSp add mod">
        <pc:chgData name="Pozniak Pawel" userId="7eb7639e-be06-4e70-b426-88416622b795" providerId="ADAL" clId="{48D96872-99E0-4B7D-9E5D-94E5B4F4612F}" dt="2024-10-24T19:26:17.847" v="554" actId="478"/>
        <pc:sldMkLst>
          <pc:docMk/>
          <pc:sldMk cId="1791760714" sldId="931"/>
        </pc:sldMkLst>
        <pc:spChg chg="mod">
          <ac:chgData name="Pozniak Pawel" userId="7eb7639e-be06-4e70-b426-88416622b795" providerId="ADAL" clId="{48D96872-99E0-4B7D-9E5D-94E5B4F4612F}" dt="2024-10-24T19:24:47.046" v="541" actId="255"/>
          <ac:spMkLst>
            <pc:docMk/>
            <pc:sldMk cId="1791760714" sldId="931"/>
            <ac:spMk id="2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4T19:25:25.990" v="551" actId="20577"/>
          <ac:spMkLst>
            <pc:docMk/>
            <pc:sldMk cId="1791760714" sldId="931"/>
            <ac:spMk id="12" creationId="{00000000-0000-0000-0000-000000000000}"/>
          </ac:spMkLst>
        </pc:spChg>
        <pc:spChg chg="mod">
          <ac:chgData name="Pozniak Pawel" userId="7eb7639e-be06-4e70-b426-88416622b795" providerId="ADAL" clId="{48D96872-99E0-4B7D-9E5D-94E5B4F4612F}" dt="2024-10-24T19:25:39.093" v="552" actId="20577"/>
          <ac:spMkLst>
            <pc:docMk/>
            <pc:sldMk cId="1791760714" sldId="931"/>
            <ac:spMk id="30" creationId="{00000000-0000-0000-0000-000000000000}"/>
          </ac:spMkLst>
        </pc:spChg>
        <pc:picChg chg="add del">
          <ac:chgData name="Pozniak Pawel" userId="7eb7639e-be06-4e70-b426-88416622b795" providerId="ADAL" clId="{48D96872-99E0-4B7D-9E5D-94E5B4F4612F}" dt="2024-10-24T19:26:17.847" v="554" actId="478"/>
          <ac:picMkLst>
            <pc:docMk/>
            <pc:sldMk cId="1791760714" sldId="931"/>
            <ac:picMk id="29" creationId="{00000000-0000-0000-0000-000000000000}"/>
          </ac:picMkLst>
        </pc:picChg>
      </pc:sldChg>
      <pc:sldChg chg="add del">
        <pc:chgData name="Pozniak Pawel" userId="7eb7639e-be06-4e70-b426-88416622b795" providerId="ADAL" clId="{48D96872-99E0-4B7D-9E5D-94E5B4F4612F}" dt="2024-10-21T17:54:35.931" v="124"/>
        <pc:sldMkLst>
          <pc:docMk/>
          <pc:sldMk cId="3220523935" sldId="938"/>
        </pc:sldMkLst>
      </pc:sldChg>
      <pc:sldChg chg="modSp add mod">
        <pc:chgData name="Pozniak Pawel" userId="7eb7639e-be06-4e70-b426-88416622b795" providerId="ADAL" clId="{48D96872-99E0-4B7D-9E5D-94E5B4F4612F}" dt="2024-10-24T19:29:19.536" v="578" actId="2711"/>
        <pc:sldMkLst>
          <pc:docMk/>
          <pc:sldMk cId="0" sldId="1420"/>
        </pc:sldMkLst>
        <pc:spChg chg="mod">
          <ac:chgData name="Pozniak Pawel" userId="7eb7639e-be06-4e70-b426-88416622b795" providerId="ADAL" clId="{48D96872-99E0-4B7D-9E5D-94E5B4F4612F}" dt="2024-10-24T19:29:19.536" v="578" actId="2711"/>
          <ac:spMkLst>
            <pc:docMk/>
            <pc:sldMk cId="0" sldId="1420"/>
            <ac:spMk id="2" creationId="{7314198A-BFAE-9467-3B74-D8ED949092EF}"/>
          </ac:spMkLst>
        </pc:spChg>
        <pc:spChg chg="mod">
          <ac:chgData name="Pozniak Pawel" userId="7eb7639e-be06-4e70-b426-88416622b795" providerId="ADAL" clId="{48D96872-99E0-4B7D-9E5D-94E5B4F4612F}" dt="2024-10-24T19:28:52.864" v="576" actId="20577"/>
          <ac:spMkLst>
            <pc:docMk/>
            <pc:sldMk cId="0" sldId="1420"/>
            <ac:spMk id="9" creationId="{1FDE7AF6-C0AD-6FF5-0D02-718DFA706DE1}"/>
          </ac:spMkLst>
        </pc:spChg>
      </pc:sldChg>
      <pc:sldChg chg="modSp add mod">
        <pc:chgData name="Pozniak Pawel" userId="7eb7639e-be06-4e70-b426-88416622b795" providerId="ADAL" clId="{48D96872-99E0-4B7D-9E5D-94E5B4F4612F}" dt="2024-10-24T19:28:31.646" v="574" actId="20577"/>
        <pc:sldMkLst>
          <pc:docMk/>
          <pc:sldMk cId="0" sldId="1433"/>
        </pc:sldMkLst>
        <pc:spChg chg="mod">
          <ac:chgData name="Pozniak Pawel" userId="7eb7639e-be06-4e70-b426-88416622b795" providerId="ADAL" clId="{48D96872-99E0-4B7D-9E5D-94E5B4F4612F}" dt="2024-10-24T19:28:31.646" v="574" actId="20577"/>
          <ac:spMkLst>
            <pc:docMk/>
            <pc:sldMk cId="0" sldId="1433"/>
            <ac:spMk id="2" creationId="{B1923117-BE41-E5BF-BCC2-EBF4523EC7B2}"/>
          </ac:spMkLst>
        </pc:spChg>
        <pc:spChg chg="mod">
          <ac:chgData name="Pozniak Pawel" userId="7eb7639e-be06-4e70-b426-88416622b795" providerId="ADAL" clId="{48D96872-99E0-4B7D-9E5D-94E5B4F4612F}" dt="2024-10-24T19:27:49.381" v="568" actId="20577"/>
          <ac:spMkLst>
            <pc:docMk/>
            <pc:sldMk cId="0" sldId="1433"/>
            <ac:spMk id="7" creationId="{D11607AE-ECE0-C1F1-CF55-C73EE283C26A}"/>
          </ac:spMkLst>
        </pc:spChg>
      </pc:sldChg>
      <pc:sldChg chg="add del">
        <pc:chgData name="Pozniak Pawel" userId="7eb7639e-be06-4e70-b426-88416622b795" providerId="ADAL" clId="{48D96872-99E0-4B7D-9E5D-94E5B4F4612F}" dt="2024-10-24T19:27:41.181" v="566" actId="2696"/>
        <pc:sldMkLst>
          <pc:docMk/>
          <pc:sldMk cId="3266056471" sldId="1440"/>
        </pc:sldMkLst>
      </pc:sldChg>
      <pc:sldChg chg="modSp add mod">
        <pc:chgData name="Pozniak Pawel" userId="7eb7639e-be06-4e70-b426-88416622b795" providerId="ADAL" clId="{48D96872-99E0-4B7D-9E5D-94E5B4F4612F}" dt="2024-10-24T19:30:14.038" v="635" actId="20577"/>
        <pc:sldMkLst>
          <pc:docMk/>
          <pc:sldMk cId="0" sldId="1443"/>
        </pc:sldMkLst>
        <pc:spChg chg="mod">
          <ac:chgData name="Pozniak Pawel" userId="7eb7639e-be06-4e70-b426-88416622b795" providerId="ADAL" clId="{48D96872-99E0-4B7D-9E5D-94E5B4F4612F}" dt="2024-10-24T19:30:14.038" v="635" actId="20577"/>
          <ac:spMkLst>
            <pc:docMk/>
            <pc:sldMk cId="0" sldId="1443"/>
            <ac:spMk id="2" creationId="{B0E06776-8EB2-6CA7-C9D7-DE615BE4F97E}"/>
          </ac:spMkLst>
        </pc:spChg>
        <pc:spChg chg="mod">
          <ac:chgData name="Pozniak Pawel" userId="7eb7639e-be06-4e70-b426-88416622b795" providerId="ADAL" clId="{48D96872-99E0-4B7D-9E5D-94E5B4F4612F}" dt="2024-10-24T19:29:36.933" v="580" actId="20577"/>
          <ac:spMkLst>
            <pc:docMk/>
            <pc:sldMk cId="0" sldId="1443"/>
            <ac:spMk id="8" creationId="{CDBD7BE9-892F-B55C-18BF-89F21C5186FA}"/>
          </ac:spMkLst>
        </pc:spChg>
      </pc:sldChg>
      <pc:sldChg chg="modSp add mod">
        <pc:chgData name="Pozniak Pawel" userId="7eb7639e-be06-4e70-b426-88416622b795" providerId="ADAL" clId="{48D96872-99E0-4B7D-9E5D-94E5B4F4612F}" dt="2024-10-24T19:31:14.564" v="677" actId="20577"/>
        <pc:sldMkLst>
          <pc:docMk/>
          <pc:sldMk cId="0" sldId="1460"/>
        </pc:sldMkLst>
        <pc:spChg chg="mod">
          <ac:chgData name="Pozniak Pawel" userId="7eb7639e-be06-4e70-b426-88416622b795" providerId="ADAL" clId="{48D96872-99E0-4B7D-9E5D-94E5B4F4612F}" dt="2024-10-24T19:31:14.564" v="677" actId="20577"/>
          <ac:spMkLst>
            <pc:docMk/>
            <pc:sldMk cId="0" sldId="1460"/>
            <ac:spMk id="4" creationId="{C5A19650-2064-6ACF-61CF-C21E1990167D}"/>
          </ac:spMkLst>
        </pc:spChg>
        <pc:spChg chg="mod">
          <ac:chgData name="Pozniak Pawel" userId="7eb7639e-be06-4e70-b426-88416622b795" providerId="ADAL" clId="{48D96872-99E0-4B7D-9E5D-94E5B4F4612F}" dt="2024-10-24T19:30:31.443" v="646" actId="20577"/>
          <ac:spMkLst>
            <pc:docMk/>
            <pc:sldMk cId="0" sldId="1460"/>
            <ac:spMk id="6" creationId="{6AE281D9-4426-E7AA-7CBA-295CDC6CDEED}"/>
          </ac:spMkLst>
        </pc:spChg>
      </pc:sldChg>
      <pc:sldChg chg="modSp add mod">
        <pc:chgData name="Pozniak Pawel" userId="7eb7639e-be06-4e70-b426-88416622b795" providerId="ADAL" clId="{48D96872-99E0-4B7D-9E5D-94E5B4F4612F}" dt="2024-10-24T19:26:44.323" v="560" actId="27636"/>
        <pc:sldMkLst>
          <pc:docMk/>
          <pc:sldMk cId="0" sldId="1474"/>
        </pc:sldMkLst>
        <pc:spChg chg="mod">
          <ac:chgData name="Pozniak Pawel" userId="7eb7639e-be06-4e70-b426-88416622b795" providerId="ADAL" clId="{48D96872-99E0-4B7D-9E5D-94E5B4F4612F}" dt="2024-10-24T19:26:28.106" v="556" actId="20577"/>
          <ac:spMkLst>
            <pc:docMk/>
            <pc:sldMk cId="0" sldId="1474"/>
            <ac:spMk id="4" creationId="{9901E6C7-7731-E628-1DFB-1E9EE9F92E71}"/>
          </ac:spMkLst>
        </pc:spChg>
        <pc:spChg chg="mod">
          <ac:chgData name="Pozniak Pawel" userId="7eb7639e-be06-4e70-b426-88416622b795" providerId="ADAL" clId="{48D96872-99E0-4B7D-9E5D-94E5B4F4612F}" dt="2024-10-24T19:26:44.323" v="560" actId="27636"/>
          <ac:spMkLst>
            <pc:docMk/>
            <pc:sldMk cId="0" sldId="1474"/>
            <ac:spMk id="5" creationId="{29A43F9F-5BD4-B357-FA04-7716EA37ECBA}"/>
          </ac:spMkLst>
        </pc:spChg>
      </pc:sldChg>
      <pc:sldChg chg="modSp add mod">
        <pc:chgData name="Pozniak Pawel" userId="7eb7639e-be06-4e70-b426-88416622b795" providerId="ADAL" clId="{48D96872-99E0-4B7D-9E5D-94E5B4F4612F}" dt="2024-10-24T19:27:28.898" v="565" actId="5793"/>
        <pc:sldMkLst>
          <pc:docMk/>
          <pc:sldMk cId="0" sldId="1480"/>
        </pc:sldMkLst>
        <pc:spChg chg="mod">
          <ac:chgData name="Pozniak Pawel" userId="7eb7639e-be06-4e70-b426-88416622b795" providerId="ADAL" clId="{48D96872-99E0-4B7D-9E5D-94E5B4F4612F}" dt="2024-10-24T19:27:13.737" v="563" actId="6549"/>
          <ac:spMkLst>
            <pc:docMk/>
            <pc:sldMk cId="0" sldId="1480"/>
            <ac:spMk id="3" creationId="{3E2B09ED-857C-5C75-2131-90F7B40EA8B6}"/>
          </ac:spMkLst>
        </pc:spChg>
        <pc:spChg chg="mod">
          <ac:chgData name="Pozniak Pawel" userId="7eb7639e-be06-4e70-b426-88416622b795" providerId="ADAL" clId="{48D96872-99E0-4B7D-9E5D-94E5B4F4612F}" dt="2024-10-24T19:27:28.898" v="565" actId="5793"/>
          <ac:spMkLst>
            <pc:docMk/>
            <pc:sldMk cId="0" sldId="1480"/>
            <ac:spMk id="4" creationId="{AFEBB86F-2AD1-63B4-BEBF-09903A7CECD6}"/>
          </ac:spMkLst>
        </pc:spChg>
      </pc:sldChg>
      <pc:sldChg chg="addSp delSp modSp del mod setBg modClrScheme chgLayout">
        <pc:chgData name="Pozniak Pawel" userId="7eb7639e-be06-4e70-b426-88416622b795" providerId="ADAL" clId="{48D96872-99E0-4B7D-9E5D-94E5B4F4612F}" dt="2024-10-24T19:08:10.728" v="249" actId="2696"/>
        <pc:sldMkLst>
          <pc:docMk/>
          <pc:sldMk cId="4195688103" sldId="1497"/>
        </pc:sldMkLst>
        <pc:spChg chg="mod ord">
          <ac:chgData name="Pozniak Pawel" userId="7eb7639e-be06-4e70-b426-88416622b795" providerId="ADAL" clId="{48D96872-99E0-4B7D-9E5D-94E5B4F4612F}" dt="2024-10-21T18:01:49.001" v="156" actId="1076"/>
          <ac:spMkLst>
            <pc:docMk/>
            <pc:sldMk cId="4195688103" sldId="1497"/>
            <ac:spMk id="4" creationId="{E49D92FA-6294-440D-C6A8-43D13C1E6F66}"/>
          </ac:spMkLst>
        </pc:spChg>
        <pc:spChg chg="add del mod ord">
          <ac:chgData name="Pozniak Pawel" userId="7eb7639e-be06-4e70-b426-88416622b795" providerId="ADAL" clId="{48D96872-99E0-4B7D-9E5D-94E5B4F4612F}" dt="2024-10-21T18:00:35.661" v="145" actId="26606"/>
          <ac:spMkLst>
            <pc:docMk/>
            <pc:sldMk cId="4195688103" sldId="1497"/>
            <ac:spMk id="6" creationId="{12CC592B-75F1-DB5A-4A01-19BA8E53B798}"/>
          </ac:spMkLst>
        </pc:spChg>
        <pc:spChg chg="add del mod">
          <ac:chgData name="Pozniak Pawel" userId="7eb7639e-be06-4e70-b426-88416622b795" providerId="ADAL" clId="{48D96872-99E0-4B7D-9E5D-94E5B4F4612F}" dt="2024-10-21T18:00:29.496" v="138" actId="26606"/>
          <ac:spMkLst>
            <pc:docMk/>
            <pc:sldMk cId="4195688103" sldId="1497"/>
            <ac:spMk id="11" creationId="{7F795E64-62DB-A61A-7F25-57CF9B8EC847}"/>
          </ac:spMkLst>
        </pc:spChg>
        <pc:spChg chg="add del mod">
          <ac:chgData name="Pozniak Pawel" userId="7eb7639e-be06-4e70-b426-88416622b795" providerId="ADAL" clId="{48D96872-99E0-4B7D-9E5D-94E5B4F4612F}" dt="2024-10-21T18:00:31.774" v="141" actId="26606"/>
          <ac:spMkLst>
            <pc:docMk/>
            <pc:sldMk cId="4195688103" sldId="1497"/>
            <ac:spMk id="13" creationId="{0EBB73E3-9A44-8857-42DF-C583AFAB7B3E}"/>
          </ac:spMkLst>
        </pc:spChg>
        <pc:spChg chg="add del mod">
          <ac:chgData name="Pozniak Pawel" userId="7eb7639e-be06-4e70-b426-88416622b795" providerId="ADAL" clId="{48D96872-99E0-4B7D-9E5D-94E5B4F4612F}" dt="2024-10-21T18:00:35.659" v="144" actId="26606"/>
          <ac:spMkLst>
            <pc:docMk/>
            <pc:sldMk cId="4195688103" sldId="1497"/>
            <ac:spMk id="15" creationId="{831EC665-7438-B79B-810D-6F457DF57BF1}"/>
          </ac:spMkLst>
        </pc:spChg>
        <pc:spChg chg="add mod">
          <ac:chgData name="Pozniak Pawel" userId="7eb7639e-be06-4e70-b426-88416622b795" providerId="ADAL" clId="{48D96872-99E0-4B7D-9E5D-94E5B4F4612F}" dt="2024-10-21T18:01:52.443" v="157" actId="1076"/>
          <ac:spMkLst>
            <pc:docMk/>
            <pc:sldMk cId="4195688103" sldId="1497"/>
            <ac:spMk id="17" creationId="{F18C99DD-5873-CC9E-4075-B31545CF3D6C}"/>
          </ac:spMkLst>
        </pc:spChg>
      </pc:sldChg>
      <pc:sldChg chg="new del">
        <pc:chgData name="Pozniak Pawel" userId="7eb7639e-be06-4e70-b426-88416622b795" providerId="ADAL" clId="{48D96872-99E0-4B7D-9E5D-94E5B4F4612F}" dt="2024-10-24T19:05:40.023" v="220" actId="47"/>
        <pc:sldMkLst>
          <pc:docMk/>
          <pc:sldMk cId="1796887832" sldId="1498"/>
        </pc:sldMkLst>
      </pc:sldChg>
      <pc:sldChg chg="add">
        <pc:chgData name="Pozniak Pawel" userId="7eb7639e-be06-4e70-b426-88416622b795" providerId="ADAL" clId="{48D96872-99E0-4B7D-9E5D-94E5B4F4612F}" dt="2024-10-24T19:05:37.758" v="219"/>
        <pc:sldMkLst>
          <pc:docMk/>
          <pc:sldMk cId="2264917049" sldId="1499"/>
        </pc:sldMkLst>
      </pc:sldChg>
      <pc:sldChg chg="addSp modSp new mod">
        <pc:chgData name="Pozniak Pawel" userId="7eb7639e-be06-4e70-b426-88416622b795" providerId="ADAL" clId="{48D96872-99E0-4B7D-9E5D-94E5B4F4612F}" dt="2024-10-24T19:49:26.569" v="723" actId="207"/>
        <pc:sldMkLst>
          <pc:docMk/>
          <pc:sldMk cId="4225304291" sldId="1500"/>
        </pc:sldMkLst>
        <pc:spChg chg="add mod">
          <ac:chgData name="Pozniak Pawel" userId="7eb7639e-be06-4e70-b426-88416622b795" providerId="ADAL" clId="{48D96872-99E0-4B7D-9E5D-94E5B4F4612F}" dt="2024-10-24T19:49:26.569" v="723" actId="207"/>
          <ac:spMkLst>
            <pc:docMk/>
            <pc:sldMk cId="4225304291" sldId="1500"/>
            <ac:spMk id="2" creationId="{2484A952-512E-1117-BC6E-6BC81C55BD8D}"/>
          </ac:spMkLst>
        </pc:spChg>
      </pc:sldChg>
      <pc:sldChg chg="addSp delSp modSp new mod">
        <pc:chgData name="Pozniak Pawel" userId="7eb7639e-be06-4e70-b426-88416622b795" providerId="ADAL" clId="{48D96872-99E0-4B7D-9E5D-94E5B4F4612F}" dt="2024-10-24T19:51:22.343" v="750" actId="1076"/>
        <pc:sldMkLst>
          <pc:docMk/>
          <pc:sldMk cId="1228679383" sldId="1501"/>
        </pc:sldMkLst>
        <pc:spChg chg="del">
          <ac:chgData name="Pozniak Pawel" userId="7eb7639e-be06-4e70-b426-88416622b795" providerId="ADAL" clId="{48D96872-99E0-4B7D-9E5D-94E5B4F4612F}" dt="2024-10-24T19:49:59.755" v="729" actId="478"/>
          <ac:spMkLst>
            <pc:docMk/>
            <pc:sldMk cId="1228679383" sldId="1501"/>
            <ac:spMk id="2" creationId="{4B6906E8-D47E-668C-3B52-7CA18F12EE79}"/>
          </ac:spMkLst>
        </pc:spChg>
        <pc:spChg chg="del">
          <ac:chgData name="Pozniak Pawel" userId="7eb7639e-be06-4e70-b426-88416622b795" providerId="ADAL" clId="{48D96872-99E0-4B7D-9E5D-94E5B4F4612F}" dt="2024-10-24T19:49:56.685" v="727" actId="478"/>
          <ac:spMkLst>
            <pc:docMk/>
            <pc:sldMk cId="1228679383" sldId="1501"/>
            <ac:spMk id="3" creationId="{481A5D99-C504-A5B9-81D5-BCDF3E5DF243}"/>
          </ac:spMkLst>
        </pc:spChg>
        <pc:spChg chg="del">
          <ac:chgData name="Pozniak Pawel" userId="7eb7639e-be06-4e70-b426-88416622b795" providerId="ADAL" clId="{48D96872-99E0-4B7D-9E5D-94E5B4F4612F}" dt="2024-10-24T19:49:58.125" v="728" actId="478"/>
          <ac:spMkLst>
            <pc:docMk/>
            <pc:sldMk cId="1228679383" sldId="1501"/>
            <ac:spMk id="4" creationId="{7DC1CD1D-E25F-53BD-4661-C426317BB7FA}"/>
          </ac:spMkLst>
        </pc:spChg>
        <pc:picChg chg="add mod">
          <ac:chgData name="Pozniak Pawel" userId="7eb7639e-be06-4e70-b426-88416622b795" providerId="ADAL" clId="{48D96872-99E0-4B7D-9E5D-94E5B4F4612F}" dt="2024-10-24T19:51:22.343" v="750" actId="1076"/>
          <ac:picMkLst>
            <pc:docMk/>
            <pc:sldMk cId="1228679383" sldId="1501"/>
            <ac:picMk id="9" creationId="{36802552-34B8-AD34-CA54-80A378CA04D9}"/>
          </ac:picMkLst>
        </pc:picChg>
      </pc:sldChg>
      <pc:sldChg chg="addSp delSp modSp add mod">
        <pc:chgData name="Pozniak Pawel" userId="7eb7639e-be06-4e70-b426-88416622b795" providerId="ADAL" clId="{48D96872-99E0-4B7D-9E5D-94E5B4F4612F}" dt="2024-10-24T19:51:15.534" v="749" actId="14100"/>
        <pc:sldMkLst>
          <pc:docMk/>
          <pc:sldMk cId="3218948006" sldId="1502"/>
        </pc:sldMkLst>
        <pc:picChg chg="add del mod">
          <ac:chgData name="Pozniak Pawel" userId="7eb7639e-be06-4e70-b426-88416622b795" providerId="ADAL" clId="{48D96872-99E0-4B7D-9E5D-94E5B4F4612F}" dt="2024-10-24T19:51:10.202" v="747" actId="478"/>
          <ac:picMkLst>
            <pc:docMk/>
            <pc:sldMk cId="3218948006" sldId="1502"/>
            <ac:picMk id="3" creationId="{9D3A2B26-CA50-5718-E462-346E007734B1}"/>
          </ac:picMkLst>
        </pc:picChg>
        <pc:picChg chg="add mod">
          <ac:chgData name="Pozniak Pawel" userId="7eb7639e-be06-4e70-b426-88416622b795" providerId="ADAL" clId="{48D96872-99E0-4B7D-9E5D-94E5B4F4612F}" dt="2024-10-24T19:51:15.534" v="749" actId="14100"/>
          <ac:picMkLst>
            <pc:docMk/>
            <pc:sldMk cId="3218948006" sldId="1502"/>
            <ac:picMk id="8" creationId="{CDADF2DD-9864-D64F-8DEC-121E817867BA}"/>
          </ac:picMkLst>
        </pc:picChg>
      </pc:sldChg>
      <pc:sldChg chg="addSp modSp add mod">
        <pc:chgData name="Pozniak Pawel" userId="7eb7639e-be06-4e70-b426-88416622b795" providerId="ADAL" clId="{48D96872-99E0-4B7D-9E5D-94E5B4F4612F}" dt="2024-10-24T19:55:36.948" v="755" actId="14100"/>
        <pc:sldMkLst>
          <pc:docMk/>
          <pc:sldMk cId="2579018759" sldId="1503"/>
        </pc:sldMkLst>
        <pc:picChg chg="add mod">
          <ac:chgData name="Pozniak Pawel" userId="7eb7639e-be06-4e70-b426-88416622b795" providerId="ADAL" clId="{48D96872-99E0-4B7D-9E5D-94E5B4F4612F}" dt="2024-10-24T19:55:36.948" v="755" actId="14100"/>
          <ac:picMkLst>
            <pc:docMk/>
            <pc:sldMk cId="2579018759" sldId="1503"/>
            <ac:picMk id="3" creationId="{4B4ECBC0-3D21-DEFF-AC32-962A2D13356E}"/>
          </ac:picMkLst>
        </pc:picChg>
      </pc:sldChg>
      <pc:sldChg chg="add del">
        <pc:chgData name="Pozniak Pawel" userId="7eb7639e-be06-4e70-b426-88416622b795" providerId="ADAL" clId="{48D96872-99E0-4B7D-9E5D-94E5B4F4612F}" dt="2024-10-24T19:55:45.761" v="756" actId="2696"/>
        <pc:sldMkLst>
          <pc:docMk/>
          <pc:sldMk cId="4034074039" sldId="1504"/>
        </pc:sldMkLst>
      </pc:sldChg>
      <pc:sldMasterChg chg="delSldLayout">
        <pc:chgData name="Pozniak Pawel" userId="7eb7639e-be06-4e70-b426-88416622b795" providerId="ADAL" clId="{48D96872-99E0-4B7D-9E5D-94E5B4F4612F}" dt="2024-10-24T19:27:41.181" v="566" actId="2696"/>
        <pc:sldMasterMkLst>
          <pc:docMk/>
          <pc:sldMasterMk cId="164648947" sldId="2147483727"/>
        </pc:sldMasterMkLst>
        <pc:sldLayoutChg chg="del">
          <pc:chgData name="Pozniak Pawel" userId="7eb7639e-be06-4e70-b426-88416622b795" providerId="ADAL" clId="{48D96872-99E0-4B7D-9E5D-94E5B4F4612F}" dt="2024-10-24T19:27:41.181" v="566" actId="2696"/>
          <pc:sldLayoutMkLst>
            <pc:docMk/>
            <pc:sldMasterMk cId="164648947" sldId="2147483727"/>
            <pc:sldLayoutMk cId="2001789742" sldId="2147483754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sz="1862" b="0" i="0" u="none" strike="noStrike" kern="1200" spc="0" baseline="0">
                <a:solidFill>
                  <a:srgbClr val="626262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u="none" strike="noStrike" kern="1200" spc="0" baseline="0" dirty="0">
                <a:solidFill>
                  <a:srgbClr val="626262">
                    <a:lumMod val="65000"/>
                    <a:lumOff val="35000"/>
                  </a:srgbClr>
                </a:solidFill>
                <a:latin typeface="voestalpine Light" panose="020B0300030000000000" pitchFamily="34" charset="0"/>
                <a:ea typeface="+mn-ea"/>
                <a:cs typeface="+mn-cs"/>
              </a:rPr>
              <a:t>1 kg Pickling Spra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sz="1862" b="0" i="0" u="none" strike="noStrike" kern="1200" spc="0" baseline="0">
              <a:solidFill>
                <a:srgbClr val="626262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6.7902409541619968E-2"/>
          <c:y val="0.19224874303824999"/>
          <c:w val="0.88036756071230238"/>
          <c:h val="0.509455804174163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Quadratmeter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85F-4234-A269-80F11C843DE5}"/>
              </c:ext>
            </c:extLst>
          </c:dPt>
          <c:cat>
            <c:strRef>
              <c:f>Tabelle1!$A$2:$A$3</c:f>
              <c:strCache>
                <c:ptCount val="2"/>
                <c:pt idx="0">
                  <c:v>RedOne</c:v>
                </c:pt>
                <c:pt idx="1">
                  <c:v>klassisch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7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5F-4234-A269-80F11C843D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903374688"/>
        <c:axId val="903371736"/>
      </c:barChart>
      <c:catAx>
        <c:axId val="9033746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03371736"/>
        <c:crosses val="autoZero"/>
        <c:auto val="1"/>
        <c:lblAlgn val="ctr"/>
        <c:lblOffset val="100"/>
        <c:noMultiLvlLbl val="0"/>
      </c:catAx>
      <c:valAx>
        <c:axId val="9033717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903374688"/>
        <c:crosses val="autoZero"/>
        <c:crossBetween val="between"/>
        <c:majorUnit val="1"/>
        <c:minorUnit val="0.5"/>
      </c:valAx>
      <c:spPr>
        <a:noFill/>
        <a:ln w="19050">
          <a:solidFill>
            <a:schemeClr val="bg2"/>
          </a:solidFill>
        </a:ln>
        <a:effectLst/>
      </c:spPr>
    </c:plotArea>
    <c:plotVisOnly val="1"/>
    <c:dispBlanksAs val="gap"/>
    <c:showDLblsOverMax val="0"/>
  </c:chart>
  <c:spPr>
    <a:noFill/>
    <a:ln w="19050">
      <a:solidFill>
        <a:schemeClr val="bg2"/>
      </a:solidFill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latin typeface="voestalpine Light" panose="020B0300030000000000" pitchFamily="34" charset="0"/>
              </a:rPr>
              <a:t>1</a:t>
            </a:r>
            <a:r>
              <a:rPr lang="en-US" sz="1200" b="1" baseline="0" dirty="0">
                <a:latin typeface="voestalpine Light" panose="020B0300030000000000" pitchFamily="34" charset="0"/>
              </a:rPr>
              <a:t> kg Pickling Paste</a:t>
            </a:r>
            <a:endParaRPr lang="en-US" sz="1200" b="1" dirty="0">
              <a:latin typeface="voestalpine Light" panose="020B0300030000000000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6.7902409541619968E-2"/>
          <c:y val="0.19224874303824999"/>
          <c:w val="0.88036756071230238"/>
          <c:h val="0.509455804174163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eter Schweißnaht</c:v>
                </c:pt>
              </c:strCache>
            </c:strRef>
          </c:tx>
          <c:spPr>
            <a:solidFill>
              <a:srgbClr val="003399"/>
            </a:solidFill>
            <a:ln>
              <a:solidFill>
                <a:srgbClr val="003399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EA7-4AED-B687-3D0006AC32CD}"/>
              </c:ext>
            </c:extLst>
          </c:dPt>
          <c:cat>
            <c:strRef>
              <c:f>Tabelle1!$A$2:$A$3</c:f>
              <c:strCache>
                <c:ptCount val="2"/>
                <c:pt idx="0">
                  <c:v>BlueOne</c:v>
                </c:pt>
                <c:pt idx="1">
                  <c:v>klassisch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A7-4AED-B687-3D0006AC32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903374688"/>
        <c:axId val="903371736"/>
      </c:barChart>
      <c:catAx>
        <c:axId val="9033746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03371736"/>
        <c:crosses val="autoZero"/>
        <c:auto val="1"/>
        <c:lblAlgn val="ctr"/>
        <c:lblOffset val="100"/>
        <c:noMultiLvlLbl val="0"/>
      </c:catAx>
      <c:valAx>
        <c:axId val="903371736"/>
        <c:scaling>
          <c:orientation val="minMax"/>
          <c:max val="8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903374688"/>
        <c:crosses val="autoZero"/>
        <c:crossBetween val="between"/>
        <c:majorUnit val="10"/>
        <c:minorUnit val="5"/>
      </c:valAx>
      <c:spPr>
        <a:noFill/>
        <a:ln w="19050">
          <a:solidFill>
            <a:schemeClr val="bg2"/>
          </a:solidFill>
        </a:ln>
        <a:effectLst/>
      </c:spPr>
    </c:plotArea>
    <c:plotVisOnly val="1"/>
    <c:dispBlanksAs val="gap"/>
    <c:showDLblsOverMax val="0"/>
  </c:chart>
  <c:spPr>
    <a:noFill/>
    <a:ln w="19050">
      <a:solidFill>
        <a:schemeClr val="bg2"/>
      </a:solidFill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sz="1862" b="0" i="0" u="none" strike="noStrike" kern="1200" spc="0" baseline="0">
                <a:solidFill>
                  <a:srgbClr val="626262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u="none" strike="noStrike" kern="1200" spc="0" baseline="0" dirty="0">
                <a:solidFill>
                  <a:srgbClr val="626262">
                    <a:lumMod val="65000"/>
                    <a:lumOff val="35000"/>
                  </a:srgbClr>
                </a:solidFill>
                <a:latin typeface="voestalpine Light" panose="020B0300030000000000" pitchFamily="34" charset="0"/>
                <a:ea typeface="+mn-ea"/>
                <a:cs typeface="+mn-cs"/>
              </a:rPr>
              <a:t>Mixture Pickling bat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sz="1862" b="0" i="0" u="none" strike="noStrike" kern="1200" spc="0" baseline="0">
              <a:solidFill>
                <a:srgbClr val="626262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5.5749532353400126E-2"/>
          <c:y val="0.19224895739053441"/>
          <c:w val="0.88036756071230238"/>
          <c:h val="0.509455804174163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ischung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FF00"/>
              </a:solidFill>
              <a:ln>
                <a:solidFill>
                  <a:srgbClr val="FFFF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713-47DE-98B0-838F0B501780}"/>
              </c:ext>
            </c:extLst>
          </c:dPt>
          <c:cat>
            <c:strRef>
              <c:f>Tabelle1!$A$2:$A$3</c:f>
              <c:strCache>
                <c:ptCount val="2"/>
                <c:pt idx="0">
                  <c:v>Bath</c:v>
                </c:pt>
                <c:pt idx="1">
                  <c:v>klassisch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3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713-47DE-98B0-838F0B5017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903374688"/>
        <c:axId val="903371736"/>
      </c:barChart>
      <c:catAx>
        <c:axId val="9033746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03371736"/>
        <c:crosses val="autoZero"/>
        <c:auto val="1"/>
        <c:lblAlgn val="ctr"/>
        <c:lblOffset val="100"/>
        <c:noMultiLvlLbl val="0"/>
      </c:catAx>
      <c:valAx>
        <c:axId val="903371736"/>
        <c:scaling>
          <c:orientation val="minMax"/>
          <c:max val="3.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903374688"/>
        <c:crosses val="autoZero"/>
        <c:crossBetween val="between"/>
        <c:majorUnit val="0.5"/>
        <c:minorUnit val="0.30000000000000004"/>
      </c:valAx>
      <c:spPr>
        <a:noFill/>
        <a:ln w="19050">
          <a:solidFill>
            <a:schemeClr val="bg2"/>
          </a:solidFill>
        </a:ln>
        <a:effectLst/>
      </c:spPr>
    </c:plotArea>
    <c:plotVisOnly val="1"/>
    <c:dispBlanksAs val="gap"/>
    <c:showDLblsOverMax val="0"/>
  </c:chart>
  <c:spPr>
    <a:noFill/>
    <a:ln w="19050">
      <a:solidFill>
        <a:schemeClr val="bg2"/>
      </a:solidFill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899" cy="496234"/>
          </a:xfrm>
          <a:prstGeom prst="rect">
            <a:avLst/>
          </a:prstGeom>
        </p:spPr>
        <p:txBody>
          <a:bodyPr vert="horz" lIns="93577" tIns="46787" rIns="93577" bIns="4678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063" y="1"/>
            <a:ext cx="2944899" cy="496234"/>
          </a:xfrm>
          <a:prstGeom prst="rect">
            <a:avLst/>
          </a:prstGeom>
        </p:spPr>
        <p:txBody>
          <a:bodyPr vert="horz" lIns="93577" tIns="46787" rIns="93577" bIns="4678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118AB9B-9DBE-4D71-BA94-78913FD57C02}" type="datetimeFigureOut">
              <a:rPr lang="en-US"/>
              <a:pPr>
                <a:defRPr/>
              </a:pPr>
              <a:t>10/24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577" tIns="46787" rIns="93577" bIns="46787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066" y="4716742"/>
            <a:ext cx="5434369" cy="4469467"/>
          </a:xfrm>
          <a:prstGeom prst="rect">
            <a:avLst/>
          </a:prstGeom>
        </p:spPr>
        <p:txBody>
          <a:bodyPr vert="horz" lIns="93577" tIns="46787" rIns="93577" bIns="46787" rtlCol="0"/>
          <a:lstStyle/>
          <a:p>
            <a:pPr lvl="0"/>
            <a:r>
              <a:rPr lang="en-US" noProof="0"/>
              <a:t>Textmaster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485"/>
            <a:ext cx="2944899" cy="496234"/>
          </a:xfrm>
          <a:prstGeom prst="rect">
            <a:avLst/>
          </a:prstGeom>
        </p:spPr>
        <p:txBody>
          <a:bodyPr vert="horz" lIns="93577" tIns="46787" rIns="93577" bIns="4678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063" y="9433485"/>
            <a:ext cx="2944899" cy="496234"/>
          </a:xfrm>
          <a:prstGeom prst="rect">
            <a:avLst/>
          </a:prstGeom>
        </p:spPr>
        <p:txBody>
          <a:bodyPr vert="horz" lIns="93577" tIns="46787" rIns="93577" bIns="4678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1A1F726-BF7A-4BE8-B33A-3923B925CA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0120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>
              <a:defRPr sz="2400" b="1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>
              <a:defRPr/>
            </a:pPr>
            <a:fld id="{136B0C7E-86E1-4ECC-86D1-E41426696AC5}" type="slidenum">
              <a:rPr lang="en-GB" sz="1200" b="0">
                <a:solidFill>
                  <a:prstClr val="black"/>
                </a:solidFill>
                <a:latin typeface="Times New Roman" pitchFamily="18" charset="0"/>
              </a:rPr>
              <a:pPr>
                <a:defRPr/>
              </a:pPr>
              <a:t>28</a:t>
            </a:fld>
            <a:endParaRPr lang="en-GB" sz="1200" b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208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890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8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8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1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jpeg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8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6" Type="http://schemas.openxmlformats.org/officeDocument/2006/relationships/image" Target="../media/image1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6" Type="http://schemas.openxmlformats.org/officeDocument/2006/relationships/image" Target="../media/image1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4" Type="http://schemas.openxmlformats.org/officeDocument/2006/relationships/image" Target="../media/image1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Relationship Id="rId4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5" Type="http://schemas.openxmlformats.org/officeDocument/2006/relationships/image" Target="../media/image21.png"/><Relationship Id="rId4" Type="http://schemas.openxmlformats.org/officeDocument/2006/relationships/image" Target="../media/image1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5" Type="http://schemas.openxmlformats.org/officeDocument/2006/relationships/image" Target="../media/image21.png"/><Relationship Id="rId4" Type="http://schemas.openxmlformats.org/officeDocument/2006/relationships/image" Target="../media/image1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5" Type="http://schemas.openxmlformats.org/officeDocument/2006/relationships/image" Target="../media/image21.png"/><Relationship Id="rId4" Type="http://schemas.openxmlformats.org/officeDocument/2006/relationships/image" Target="../media/image1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5" Type="http://schemas.openxmlformats.org/officeDocument/2006/relationships/image" Target="../media/image21.png"/><Relationship Id="rId4" Type="http://schemas.openxmlformats.org/officeDocument/2006/relationships/image" Target="../media/image1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5" Type="http://schemas.openxmlformats.org/officeDocument/2006/relationships/image" Target="../media/image21.png"/><Relationship Id="rId4" Type="http://schemas.openxmlformats.org/officeDocument/2006/relationships/image" Target="../media/image1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5" Type="http://schemas.openxmlformats.org/officeDocument/2006/relationships/image" Target="../media/image21.png"/><Relationship Id="rId4" Type="http://schemas.openxmlformats.org/officeDocument/2006/relationships/image" Target="../media/image1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5" Type="http://schemas.openxmlformats.org/officeDocument/2006/relationships/image" Target="../media/image21.png"/><Relationship Id="rId4" Type="http://schemas.openxmlformats.org/officeDocument/2006/relationships/image" Target="../media/image1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5" Type="http://schemas.openxmlformats.org/officeDocument/2006/relationships/image" Target="../media/image21.png"/><Relationship Id="rId4" Type="http://schemas.openxmlformats.org/officeDocument/2006/relationships/image" Target="../media/image1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6" Type="http://schemas.openxmlformats.org/officeDocument/2006/relationships/image" Target="../media/image16.png"/><Relationship Id="rId5" Type="http://schemas.openxmlformats.org/officeDocument/2006/relationships/image" Target="../media/image22.jpg"/><Relationship Id="rId4" Type="http://schemas.openxmlformats.org/officeDocument/2006/relationships/image" Target="../media/image1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6" Type="http://schemas.openxmlformats.org/officeDocument/2006/relationships/image" Target="../media/image23.png"/><Relationship Id="rId5" Type="http://schemas.openxmlformats.org/officeDocument/2006/relationships/image" Target="../media/image22.jpg"/><Relationship Id="rId4" Type="http://schemas.openxmlformats.org/officeDocument/2006/relationships/image" Target="../media/image1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6" Type="http://schemas.openxmlformats.org/officeDocument/2006/relationships/image" Target="../media/image24.png"/><Relationship Id="rId5" Type="http://schemas.openxmlformats.org/officeDocument/2006/relationships/image" Target="../media/image22.jpg"/><Relationship Id="rId4" Type="http://schemas.openxmlformats.org/officeDocument/2006/relationships/image" Target="../media/image1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6" Type="http://schemas.openxmlformats.org/officeDocument/2006/relationships/image" Target="../media/image25.png"/><Relationship Id="rId5" Type="http://schemas.openxmlformats.org/officeDocument/2006/relationships/image" Target="../media/image22.jpg"/><Relationship Id="rId4" Type="http://schemas.openxmlformats.org/officeDocument/2006/relationships/image" Target="../media/image1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1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6" Type="http://schemas.openxmlformats.org/officeDocument/2006/relationships/image" Target="../media/image27.png"/><Relationship Id="rId5" Type="http://schemas.openxmlformats.org/officeDocument/2006/relationships/image" Target="../media/image26.jpg"/><Relationship Id="rId4" Type="http://schemas.openxmlformats.org/officeDocument/2006/relationships/image" Target="../media/image1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9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oleObject" Target="../embeddings/oleObject40.bin"/><Relationship Id="rId7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6" Type="http://schemas.microsoft.com/office/2007/relationships/hdphoto" Target="../media/hdphoto1.wdp"/><Relationship Id="rId5" Type="http://schemas.openxmlformats.org/officeDocument/2006/relationships/image" Target="../media/image29.png"/><Relationship Id="rId4" Type="http://schemas.openxmlformats.org/officeDocument/2006/relationships/image" Target="../media/image1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png"/><Relationship Id="rId4" Type="http://schemas.openxmlformats.org/officeDocument/2006/relationships/image" Target="../media/image38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4" Type="http://schemas.openxmlformats.org/officeDocument/2006/relationships/image" Target="../media/image44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3.bin"/><Relationship Id="rId4" Type="http://schemas.openxmlformats.org/officeDocument/2006/relationships/image" Target="../media/image9.jpe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.jpe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04" r="10448"/>
          <a:stretch>
            <a:fillRect/>
          </a:stretch>
        </p:blipFill>
        <p:spPr bwMode="auto">
          <a:xfrm>
            <a:off x="0" y="0"/>
            <a:ext cx="9144000" cy="679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5" descr="C:\Users\bindert\Desktop\v_S_A4_Grey4C_Blue4C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16"/>
          <a:stretch>
            <a:fillRect/>
          </a:stretch>
        </p:blipFill>
        <p:spPr bwMode="auto">
          <a:xfrm>
            <a:off x="0" y="4837113"/>
            <a:ext cx="9150350" cy="202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65088"/>
            <a:ext cx="2970213" cy="1109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323850" y="6399213"/>
            <a:ext cx="37449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dirty="0"/>
              <a:t>www.voestalpine.com/welding</a:t>
            </a:r>
          </a:p>
        </p:txBody>
      </p:sp>
      <p:sp>
        <p:nvSpPr>
          <p:cNvPr id="8" name="Textfeld 12"/>
          <p:cNvSpPr txBox="1">
            <a:spLocks noChangeArrowheads="1"/>
          </p:cNvSpPr>
          <p:nvPr userDrawn="1"/>
        </p:nvSpPr>
        <p:spPr bwMode="auto">
          <a:xfrm>
            <a:off x="323850" y="6176963"/>
            <a:ext cx="2973388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altLang="sv-SE" sz="1100" b="1"/>
              <a:t>voestalpine Böhler Welding Nordic</a:t>
            </a:r>
          </a:p>
        </p:txBody>
      </p:sp>
      <p:pic>
        <p:nvPicPr>
          <p:cNvPr id="9" name="Grafik 1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2713" y="6178550"/>
            <a:ext cx="2352675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1480860"/>
            <a:ext cx="8499600" cy="1767600"/>
          </a:xfrm>
        </p:spPr>
        <p:txBody>
          <a:bodyPr tIns="46800" bIns="46800">
            <a:no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 noProof="0"/>
              <a:t>Klicka här för att ändra forma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24000" y="3428460"/>
            <a:ext cx="8499600" cy="1080000"/>
          </a:xfrm>
        </p:spPr>
        <p:txBody>
          <a:bodyPr lIns="72000" tIns="46800" bIns="46800"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noProof="0"/>
              <a:t>Klicka här för att ändra format på underrubrik i bakgrund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6861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7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9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77838" y="1412875"/>
            <a:ext cx="4167187" cy="1317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797425" y="1412875"/>
            <a:ext cx="4167188" cy="1317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bild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0C74990-3EE4-4B9C-B1DD-B24D35574B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76108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7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9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11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bildnumm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174765A-3FC1-4025-B1E4-C1BAD8081E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93300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5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 dirty="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7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8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D8007D4-421D-4540-84BE-3E86ED40A1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9055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4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6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F766651-D845-414B-B3EB-FE54B88E3A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76538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7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9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bild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611E714-B310-4ACD-8F5E-35290747E5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98625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7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9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sv-SE" noProof="0"/>
              <a:t>Klicka på ikonen för att lägga till en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bild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D26FED8-C469-45E8-AE14-6782AE78CA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63084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6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8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DE0BC74-B224-4C59-B05A-86A3ADF0F5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30864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6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8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843713" y="342900"/>
            <a:ext cx="2120900" cy="2387600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77838" y="342900"/>
            <a:ext cx="6213475" cy="2387600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28910EF-CD88-48F0-81F2-76D015EF15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76701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Rubrik, text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  <a:ea typeface="ヒラギノ角ゴ Pro W3" pitchFamily="-110" charset="-128"/>
              </a:rPr>
              <a:t>              </a:t>
            </a:r>
          </a:p>
        </p:txBody>
      </p:sp>
      <p:pic>
        <p:nvPicPr>
          <p:cNvPr id="7" name="Picture 8" descr="BWG_Logo Drucksorte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23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 descr="Brands_RGB_centered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  <a:ea typeface="ヒラギノ角ゴ Pro W3" pitchFamily="-110" charset="-128"/>
              </a:rPr>
              <a:t>              |      Company     |      Presentation Title      I      Date      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100138" y="403225"/>
            <a:ext cx="7621587" cy="363538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half" idx="1"/>
          </p:nvPr>
        </p:nvSpPr>
        <p:spPr>
          <a:xfrm>
            <a:off x="1012825" y="1516063"/>
            <a:ext cx="3521075" cy="4410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86300" y="1516063"/>
            <a:ext cx="3521075" cy="4410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rgbClr val="1B1B1B"/>
                </a:solidFill>
                <a:latin typeface="+mn-lt"/>
                <a:ea typeface="ヒラギノ角ゴ Pro W3" pitchFamily="-11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rgbClr val="1B1B1B"/>
                </a:solidFill>
                <a:latin typeface="+mn-lt"/>
                <a:ea typeface="ヒラギノ角ゴ Pro W3" pitchFamily="-11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 wrap="square" anchor="t"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ヒラギノ角ゴ Pro W3" pitchFamily="-110" charset="-128"/>
                <a:cs typeface="+mn-cs"/>
              </a:defRPr>
            </a:lvl1pPr>
          </a:lstStyle>
          <a:p>
            <a:pPr>
              <a:defRPr/>
            </a:pPr>
            <a:fld id="{00CE6EE2-B9A5-4031-BC7E-6499E306CA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08736"/>
      </p:ext>
    </p:extLst>
  </p:cSld>
  <p:clrMapOvr>
    <a:masterClrMapping/>
  </p:clrMapOvr>
  <p:transition spd="slow" advClick="0" advTm="3000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lipArt">
  <p:cSld name="Rubrik, text och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7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9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100138" y="403225"/>
            <a:ext cx="7621587" cy="363538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half" idx="1"/>
          </p:nvPr>
        </p:nvSpPr>
        <p:spPr>
          <a:xfrm>
            <a:off x="1012825" y="1516063"/>
            <a:ext cx="3521075" cy="441007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ClipArt 3"/>
          <p:cNvSpPr>
            <a:spLocks noGrp="1"/>
          </p:cNvSpPr>
          <p:nvPr>
            <p:ph type="clipArt" sz="half" idx="2"/>
          </p:nvPr>
        </p:nvSpPr>
        <p:spPr>
          <a:xfrm>
            <a:off x="4686300" y="1516063"/>
            <a:ext cx="3521075" cy="4410075"/>
          </a:xfrm>
        </p:spPr>
        <p:txBody>
          <a:bodyPr/>
          <a:lstStyle/>
          <a:p>
            <a:pPr lvl="0"/>
            <a:endParaRPr lang="sv-SE" noProof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411538" y="6484938"/>
            <a:ext cx="588962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sv-SE">
              <a:solidFill>
                <a:srgbClr val="1B1B1B"/>
              </a:solidFill>
              <a:latin typeface="Arial" pitchFamily="34" charset="0"/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957263" y="6473825"/>
            <a:ext cx="395287" cy="1222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sv-SE">
              <a:solidFill>
                <a:srgbClr val="1B1B1B"/>
              </a:solidFill>
              <a:latin typeface="Arial" pitchFamily="34" charset="0"/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97AF6D-E7E3-48D5-A40C-37C783C157C4}" type="slidenum">
              <a:rPr lang="en-US" altLang="sv-SE"/>
              <a:pPr>
                <a:defRPr/>
              </a:pPr>
              <a:t>‹#›</a:t>
            </a:fld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3223919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180000"/>
            <a:ext cx="8499600" cy="1080000"/>
          </a:xfrm>
        </p:spPr>
        <p:txBody>
          <a:bodyPr/>
          <a:lstStyle/>
          <a:p>
            <a:r>
              <a:rPr lang="sv-SE" noProof="0"/>
              <a:t>Klicka här för att ändra forma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352800" indent="-352800">
              <a:defRPr/>
            </a:lvl2pPr>
            <a:lvl3pPr marL="637200" indent="-284400">
              <a:defRPr/>
            </a:lvl3pPr>
            <a:lvl4pPr marL="903600">
              <a:defRPr/>
            </a:lvl4pPr>
            <a:lvl5pPr marL="903600" indent="-266400">
              <a:defRPr/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E29B7B-897A-4CBF-A432-B3A807A977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9349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B68D87-2C9C-411A-9E6B-CE7D8C6024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99064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woObj">
  <p:cSld name="Rubrik, innehåll och 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8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10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100138" y="403225"/>
            <a:ext cx="7621587" cy="363538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1012825" y="1516063"/>
            <a:ext cx="3521075" cy="441007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quarter" idx="2"/>
          </p:nvPr>
        </p:nvSpPr>
        <p:spPr>
          <a:xfrm>
            <a:off x="4686300" y="1516063"/>
            <a:ext cx="3521075" cy="212883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innehåll 4"/>
          <p:cNvSpPr>
            <a:spLocks noGrp="1"/>
          </p:cNvSpPr>
          <p:nvPr>
            <p:ph sz="quarter" idx="3"/>
          </p:nvPr>
        </p:nvSpPr>
        <p:spPr>
          <a:xfrm>
            <a:off x="4686300" y="3797300"/>
            <a:ext cx="3521075" cy="21288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411538" y="6484938"/>
            <a:ext cx="588962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sv-SE">
              <a:solidFill>
                <a:srgbClr val="1B1B1B"/>
              </a:solidFill>
              <a:latin typeface="Arial" pitchFamily="34" charset="0"/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957263" y="6473825"/>
            <a:ext cx="395287" cy="1222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sv-SE">
              <a:solidFill>
                <a:srgbClr val="1B1B1B"/>
              </a:solidFill>
              <a:latin typeface="Arial" pitchFamily="34" charset="0"/>
            </a:endParaRP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506A63-417A-4092-A856-535F123D87EE}" type="slidenum">
              <a:rPr lang="en-US" altLang="sv-SE"/>
              <a:pPr>
                <a:defRPr/>
              </a:pPr>
              <a:t>‹#›</a:t>
            </a:fld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15647209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B78AD9A2-D0ED-41F4-BC94-F5F3073F2B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F0813E4-3A91-4A47-9530-4074C9D3CC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116323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F0813E4-3A91-4A47-9530-4074C9D3C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C:\Users\reibenm\Desktop\Marke\Markenphase VIIII\Markenprozess\Corporate Design\Erste Umsetzungen\Vorlagen neu\1. Gecheckt von IT\v_S_PP_2\v_S_PP_2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568" y="3496734"/>
            <a:ext cx="9236076" cy="3361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3" y="448143"/>
            <a:ext cx="2113137" cy="126087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5588" y="2071355"/>
            <a:ext cx="5897563" cy="1767600"/>
          </a:xfrm>
        </p:spPr>
        <p:txBody>
          <a:bodyPr vert="horz" tIns="46800" bIns="46800">
            <a:noAutofit/>
          </a:bodyPr>
          <a:lstStyle>
            <a:lvl1pPr algn="l">
              <a:defRPr sz="32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5588" y="4018955"/>
            <a:ext cx="5897563" cy="1712633"/>
          </a:xfrm>
        </p:spPr>
        <p:txBody>
          <a:bodyPr lIns="0" tIns="46800" bIns="4680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voestalpine" panose="020B0500030000000000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  <a:endParaRPr lang="de-AT" noProof="0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256116" y="6103359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1" noProof="0">
                <a:solidFill>
                  <a:schemeClr val="bg1"/>
                </a:solidFill>
                <a:latin typeface="voestalpine" panose="020B0500030000000000" pitchFamily="34" charset="0"/>
              </a:rPr>
              <a:t>voestalpine Böhler Welding</a:t>
            </a:r>
            <a:endParaRPr lang="de-AT" sz="1100" b="1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56116" y="6327072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0" noProof="0">
                <a:solidFill>
                  <a:schemeClr val="bg1"/>
                </a:solidFill>
                <a:latin typeface="voestalpine" panose="020B0500030000000000" pitchFamily="34" charset="0"/>
              </a:rPr>
              <a:t>www.voestalpine.com/welding</a:t>
            </a:r>
            <a:endParaRPr lang="de-AT" sz="1100" b="0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  <p:cxnSp>
        <p:nvCxnSpPr>
          <p:cNvPr id="11" name="Gerade Verbindung 8"/>
          <p:cNvCxnSpPr/>
          <p:nvPr userDrawn="1"/>
        </p:nvCxnSpPr>
        <p:spPr>
          <a:xfrm>
            <a:off x="255992" y="3784120"/>
            <a:ext cx="5897159" cy="0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887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A3AFBFB6-4BC7-477C-8374-8C29EA51D6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4441" y="2"/>
            <a:ext cx="10411821" cy="780886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354CD18-2796-4540-AB1B-ED13158152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2744221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354CD18-2796-4540-AB1B-ED1315815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3" y="448143"/>
            <a:ext cx="2113137" cy="1260877"/>
          </a:xfrm>
          <a:prstGeom prst="rect">
            <a:avLst/>
          </a:prstGeom>
        </p:spPr>
      </p:pic>
      <p:pic>
        <p:nvPicPr>
          <p:cNvPr id="10" name="Picture 2" descr="C:\Users\reibenm\Desktop\Marke\Markenphase VIIII\Markenprozess\Corporate Design\Erste Umsetzungen\Vorlagen neu\1. Gecheckt von IT\v_S_PP_2\v_S_PP_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568" y="3496734"/>
            <a:ext cx="9236076" cy="3361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5587" y="2071355"/>
            <a:ext cx="5363085" cy="1767600"/>
          </a:xfrm>
        </p:spPr>
        <p:txBody>
          <a:bodyPr vert="horz" tIns="46800" bIns="46800">
            <a:noAutofit/>
          </a:bodyPr>
          <a:lstStyle>
            <a:lvl1pPr algn="l">
              <a:defRPr sz="32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5588" y="4018955"/>
            <a:ext cx="6373813" cy="1712633"/>
          </a:xfrm>
        </p:spPr>
        <p:txBody>
          <a:bodyPr lIns="0" tIns="46800" bIns="4680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voestalpine" panose="020B0500030000000000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  <a:endParaRPr lang="de-AT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5992" y="3784120"/>
            <a:ext cx="5897159" cy="0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256116" y="6103359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1" noProof="0">
                <a:solidFill>
                  <a:schemeClr val="bg1"/>
                </a:solidFill>
                <a:latin typeface="voestalpine" panose="020B0500030000000000" pitchFamily="34" charset="0"/>
              </a:rPr>
              <a:t>voestalpine Böhler Welding</a:t>
            </a:r>
            <a:endParaRPr lang="de-AT" sz="1100" b="1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56116" y="6327072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0" noProof="0">
                <a:solidFill>
                  <a:schemeClr val="bg1"/>
                </a:solidFill>
                <a:latin typeface="voestalpine" panose="020B0500030000000000" pitchFamily="34" charset="0"/>
              </a:rPr>
              <a:t>www.voestalpine.com/welding</a:t>
            </a:r>
            <a:endParaRPr lang="de-AT" sz="1100" b="0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F7A07001-0888-4D39-8376-BB4DA271A24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19600" y="3225800"/>
            <a:ext cx="3048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6104136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FCB242C1-5F96-5294-E73B-EF8BE4D14F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30" y="0"/>
            <a:ext cx="9144000" cy="685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839136E-18A3-43E0-9932-DCF0723F52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227771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839136E-18A3-43E0-9932-DCF0723F5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3" y="448143"/>
            <a:ext cx="2113137" cy="1260877"/>
          </a:xfrm>
          <a:prstGeom prst="rect">
            <a:avLst/>
          </a:prstGeom>
        </p:spPr>
      </p:pic>
      <p:pic>
        <p:nvPicPr>
          <p:cNvPr id="10" name="Picture 2" descr="C:\Users\reibenm\Desktop\Marke\Markenphase VIIII\Markenprozess\Corporate Design\Erste Umsetzungen\Vorlagen neu\1. Gecheckt von IT\v_S_PP_2\v_S_PP_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568" y="3496734"/>
            <a:ext cx="9236076" cy="3361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5587" y="2071355"/>
            <a:ext cx="7450311" cy="1767600"/>
          </a:xfrm>
        </p:spPr>
        <p:txBody>
          <a:bodyPr vert="horz" tIns="46800" bIns="46800">
            <a:noAutofit/>
          </a:bodyPr>
          <a:lstStyle>
            <a:lvl1pPr algn="l">
              <a:defRPr sz="32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5588" y="4018955"/>
            <a:ext cx="6373813" cy="1712633"/>
          </a:xfrm>
        </p:spPr>
        <p:txBody>
          <a:bodyPr lIns="0" tIns="46800" bIns="4680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voestalpine" panose="020B0500030000000000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  <a:endParaRPr lang="de-AT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5992" y="3784120"/>
            <a:ext cx="5897159" cy="0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256116" y="6103359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1" noProof="0">
                <a:solidFill>
                  <a:schemeClr val="bg1"/>
                </a:solidFill>
                <a:latin typeface="voestalpine" panose="020B0500030000000000" pitchFamily="34" charset="0"/>
              </a:rPr>
              <a:t>voestalpine Böhler Welding</a:t>
            </a:r>
            <a:endParaRPr lang="de-AT" sz="1100" b="1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56116" y="6327072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0" noProof="0">
                <a:solidFill>
                  <a:schemeClr val="bg1"/>
                </a:solidFill>
                <a:latin typeface="voestalpine" panose="020B0500030000000000" pitchFamily="34" charset="0"/>
              </a:rPr>
              <a:t>www.voestalpine.com/welding</a:t>
            </a:r>
            <a:endParaRPr lang="de-AT" sz="1100" b="0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8938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665C2D6F-231C-418A-B897-2ADE36EB63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0495110-56E1-4B2B-80BB-9AE7C73712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7233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0495110-56E1-4B2B-80BB-9AE7C7371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3" y="448143"/>
            <a:ext cx="2113137" cy="1260877"/>
          </a:xfrm>
          <a:prstGeom prst="rect">
            <a:avLst/>
          </a:prstGeom>
        </p:spPr>
      </p:pic>
      <p:pic>
        <p:nvPicPr>
          <p:cNvPr id="10" name="Picture 2" descr="C:\Users\reibenm\Desktop\Marke\Markenphase VIIII\Markenprozess\Corporate Design\Erste Umsetzungen\Vorlagen neu\1. Gecheckt von IT\v_S_PP_2\v_S_PP_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568" y="3496734"/>
            <a:ext cx="9236076" cy="3361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5587" y="2071355"/>
            <a:ext cx="7450311" cy="1767600"/>
          </a:xfrm>
        </p:spPr>
        <p:txBody>
          <a:bodyPr vert="horz" tIns="46800" bIns="46800">
            <a:noAutofit/>
          </a:bodyPr>
          <a:lstStyle>
            <a:lvl1pPr algn="l">
              <a:defRPr sz="32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5588" y="4018955"/>
            <a:ext cx="6373813" cy="1712633"/>
          </a:xfrm>
        </p:spPr>
        <p:txBody>
          <a:bodyPr lIns="0" tIns="46800" bIns="4680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voestalpine" panose="020B0500030000000000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  <a:endParaRPr lang="de-AT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5992" y="3784120"/>
            <a:ext cx="5897159" cy="0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256116" y="6103359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1" noProof="0">
                <a:solidFill>
                  <a:schemeClr val="bg1"/>
                </a:solidFill>
                <a:latin typeface="voestalpine" panose="020B0500030000000000" pitchFamily="34" charset="0"/>
              </a:rPr>
              <a:t>voestalpine Böhler Welding</a:t>
            </a:r>
            <a:endParaRPr lang="de-AT" sz="1100" b="1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56116" y="6327072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0" noProof="0">
                <a:solidFill>
                  <a:schemeClr val="bg1"/>
                </a:solidFill>
                <a:latin typeface="voestalpine" panose="020B0500030000000000" pitchFamily="34" charset="0"/>
              </a:rPr>
              <a:t>www.voestalpine.com/welding</a:t>
            </a:r>
            <a:endParaRPr lang="de-AT" sz="1100" b="0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F67A4948-D598-45D3-BBC2-DEAD6EF1E262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19600" y="3225800"/>
            <a:ext cx="3048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9141233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050DA-7487-B5A7-977D-70ED8D59C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F70699-0D60-D052-CA67-641999C8A0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32F54C-F8F7-9FEE-B7BE-711995C3CDC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3C04B4EF-F0D6-4261-BF13-2833B19BA77E}" type="datetime1">
              <a:rPr lang="de-AT" smtClean="0"/>
              <a:t>24.10.2024</a:t>
            </a:fld>
            <a:endParaRPr lang="de-A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F33D74-5544-723C-EB27-50E679A4AA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639664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890CC586-9FD5-484B-B017-B37A60B90F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6"/>
            <a:ext cx="9144000" cy="6855591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BBCBE376-0FD2-4405-9134-CE6EABE7E5B7}"/>
              </a:ext>
            </a:extLst>
          </p:cNvPr>
          <p:cNvSpPr/>
          <p:nvPr userDrawn="1"/>
        </p:nvSpPr>
        <p:spPr>
          <a:xfrm>
            <a:off x="255586" y="2539655"/>
            <a:ext cx="5954714" cy="2625013"/>
          </a:xfrm>
          <a:prstGeom prst="rect">
            <a:avLst/>
          </a:prstGeom>
          <a:solidFill>
            <a:schemeClr val="accent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8E04E14-8E82-4DA3-86A8-147758A02D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7785450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8E04E14-8E82-4DA3-86A8-147758A02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 descr="C:\Users\reibenm\Desktop\Marke\Markenphase VIIII\Markenprozess\Corporate Design\Erste Umsetzungen\Vorlagen neu\1. Gecheckt von IT\v_S_PP_2\v_S_PP_2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568" y="3496734"/>
            <a:ext cx="9236076" cy="3361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5587" y="2071355"/>
            <a:ext cx="7450311" cy="1767600"/>
          </a:xfrm>
        </p:spPr>
        <p:txBody>
          <a:bodyPr vert="horz" tIns="46800" bIns="46800">
            <a:noAutofit/>
          </a:bodyPr>
          <a:lstStyle>
            <a:lvl1pPr algn="l">
              <a:defRPr sz="32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de-DE" noProof="0" dirty="0" err="1"/>
              <a:t>Product</a:t>
            </a:r>
            <a:r>
              <a:rPr lang="de-DE" noProof="0" dirty="0"/>
              <a:t> </a:t>
            </a:r>
            <a:r>
              <a:rPr lang="de-DE" noProof="0" dirty="0" err="1"/>
              <a:t>portfolio</a:t>
            </a:r>
            <a:endParaRPr lang="de-AT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5588" y="4018955"/>
            <a:ext cx="6373813" cy="1712633"/>
          </a:xfrm>
        </p:spPr>
        <p:txBody>
          <a:bodyPr lIns="0" tIns="46800" bIns="4680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voestalpine" panose="020B0500030000000000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err="1"/>
              <a:t>Product</a:t>
            </a:r>
            <a:r>
              <a:rPr lang="de-DE" noProof="0" dirty="0"/>
              <a:t> </a:t>
            </a:r>
            <a:r>
              <a:rPr lang="de-DE" noProof="0" dirty="0" err="1"/>
              <a:t>benefits</a:t>
            </a:r>
            <a:r>
              <a:rPr lang="de-DE" noProof="0" dirty="0"/>
              <a:t> and </a:t>
            </a:r>
            <a:r>
              <a:rPr lang="de-DE" noProof="0" dirty="0" err="1"/>
              <a:t>sales</a:t>
            </a:r>
            <a:r>
              <a:rPr lang="de-DE" noProof="0" dirty="0"/>
              <a:t> </a:t>
            </a:r>
            <a:r>
              <a:rPr lang="de-DE" noProof="0" dirty="0" err="1"/>
              <a:t>arguments</a:t>
            </a:r>
            <a:endParaRPr lang="de-DE" noProof="0" dirty="0"/>
          </a:p>
          <a:p>
            <a:r>
              <a:rPr lang="de-DE" noProof="0" dirty="0"/>
              <a:t>2023-06-14 André Fasth</a:t>
            </a:r>
            <a:endParaRPr lang="de-AT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5992" y="3784120"/>
            <a:ext cx="5897159" cy="0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256116" y="6103359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1" noProof="0">
                <a:solidFill>
                  <a:schemeClr val="bg1"/>
                </a:solidFill>
                <a:latin typeface="voestalpine" panose="020B0500030000000000" pitchFamily="34" charset="0"/>
              </a:rPr>
              <a:t>voestalpine Böhler Welding</a:t>
            </a:r>
            <a:endParaRPr lang="de-AT" sz="1100" b="1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56116" y="6327072"/>
            <a:ext cx="57827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0" noProof="0">
                <a:solidFill>
                  <a:schemeClr val="bg1"/>
                </a:solidFill>
                <a:latin typeface="voestalpine" panose="020B0500030000000000" pitchFamily="34" charset="0"/>
              </a:rPr>
              <a:t>www.voestalpine.com/welding</a:t>
            </a:r>
            <a:endParaRPr lang="de-AT" sz="1100" b="0" noProof="0" dirty="0">
              <a:solidFill>
                <a:schemeClr val="bg1"/>
              </a:solidFill>
              <a:latin typeface="voestalpine" panose="020B050003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07861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AB6D17C-B4CC-4C4C-B374-6A33BC0BC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3111306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AB6D17C-B4CC-4C4C-B374-6A33BC0BC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9" y="1910079"/>
            <a:ext cx="8636000" cy="1770804"/>
          </a:xfrm>
        </p:spPr>
        <p:txBody>
          <a:bodyPr vert="horz">
            <a:noAutofit/>
          </a:bodyPr>
          <a:lstStyle>
            <a:lvl1pPr marL="0" algn="l" defTabSz="914378" rtl="0" eaLnBrk="1" latinLnBrk="0" hangingPunct="1">
              <a:spcBef>
                <a:spcPct val="0"/>
              </a:spcBef>
              <a:buNone/>
              <a:defRPr lang="de-AT" sz="2200" kern="1200" dirty="0">
                <a:solidFill>
                  <a:schemeClr val="tx1"/>
                </a:solidFill>
                <a:latin typeface="voestalpine" panose="020B0500030000000000" pitchFamily="34" charset="0"/>
                <a:ea typeface="+mj-ea"/>
                <a:cs typeface="+mj-cs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255589" y="3653367"/>
            <a:ext cx="863600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115A26-3E2D-4D1C-87F1-D07BCC54E3F0}" type="datetime1">
              <a:rPr lang="de-AT" smtClean="0"/>
              <a:t>24.10.2024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357164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12B3F44-1BF3-497D-9843-72F156A67C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767368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12B3F44-1BF3-497D-9843-72F156A67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6115" y="228601"/>
            <a:ext cx="8635473" cy="5530851"/>
          </a:xfrm>
        </p:spPr>
        <p:txBody>
          <a:bodyPr/>
          <a:lstStyle>
            <a:lvl1pPr marL="0" indent="0">
              <a:buNone/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97006AB0-37E5-4CAC-9FBD-F79B9FAACCC9}" type="datetime1">
              <a:rPr lang="de-AT" smtClean="0"/>
              <a:t>24.10.2024</a:t>
            </a:fld>
            <a:endParaRPr lang="de-AT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085057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noProof="0"/>
              <a:t>Klicka här för att ändra format</a:t>
            </a:r>
            <a:endParaRPr lang="en-US" noProof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323850" y="1484313"/>
            <a:ext cx="4176713" cy="3960812"/>
          </a:xfrm>
        </p:spPr>
        <p:txBody>
          <a:bodyPr rtlCol="0">
            <a:normAutofit/>
          </a:bodyPr>
          <a:lstStyle/>
          <a:p>
            <a:pPr lvl="0"/>
            <a:r>
              <a:rPr lang="sv-SE" noProof="0"/>
              <a:t>Klicka på ikonen för att lägga till en bild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643438" y="1484313"/>
            <a:ext cx="4176712" cy="39608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US" noProof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6C7B4C-F0E5-46B7-912F-72F0553025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095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37A4D53-0C53-4E16-BE7D-0882D8B5E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090428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37A4D53-0C53-4E16-BE7D-0882D8B5E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8" y="228600"/>
            <a:ext cx="6049962" cy="1187400"/>
          </a:xfrm>
        </p:spPr>
        <p:txBody>
          <a:bodyPr vert="horz"/>
          <a:lstStyle>
            <a:lvl1pPr>
              <a:lnSpc>
                <a:spcPts val="3200"/>
              </a:lnSpc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5589" y="1704001"/>
            <a:ext cx="8636000" cy="4055451"/>
          </a:xfrm>
        </p:spPr>
        <p:txBody>
          <a:bodyPr/>
          <a:lstStyle>
            <a:lvl1pPr>
              <a:defRPr>
                <a:latin typeface="voestalpine" panose="020B0500030000000000" pitchFamily="34" charset="0"/>
              </a:defRPr>
            </a:lvl1pPr>
            <a:lvl2pPr marL="269993" indent="-269993">
              <a:defRPr>
                <a:latin typeface="voestalpine" panose="020B0500030000000000" pitchFamily="34" charset="0"/>
              </a:defRPr>
            </a:lvl2pPr>
            <a:lvl3pPr marL="539987" indent="-269993">
              <a:defRPr>
                <a:latin typeface="voestalpine" panose="020B0500030000000000" pitchFamily="34" charset="0"/>
              </a:defRPr>
            </a:lvl3pPr>
            <a:lvl4pPr marL="809980">
              <a:defRPr>
                <a:latin typeface="voestalpine" panose="020B0500030000000000" pitchFamily="34" charset="0"/>
              </a:defRPr>
            </a:lvl4pPr>
            <a:lvl5pPr marL="1079973" indent="-269993">
              <a:defRPr sz="1400">
                <a:latin typeface="voestalpine" panose="020B0500030000000000" pitchFamily="34" charset="0"/>
              </a:defRPr>
            </a:lvl5pPr>
            <a:lvl6pPr marL="1349966" indent="-269993">
              <a:spcBef>
                <a:spcPts val="0"/>
              </a:spcBef>
              <a:defRPr sz="1200"/>
            </a:lvl6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AT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55588" y="1411111"/>
            <a:ext cx="60499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5" y="220250"/>
            <a:ext cx="2064903" cy="1232891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2C62AF-2CD4-40A7-9899-DA5AA6652993}" type="datetime1">
              <a:rPr lang="de-AT" smtClean="0"/>
              <a:t>24.10.2024</a:t>
            </a:fld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166892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großes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29FFD05-E269-4F97-9E3C-D4912551A8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838358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29FFD05-E269-4F97-9E3C-D4912551A8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8" y="203200"/>
            <a:ext cx="6049962" cy="1212800"/>
          </a:xfrm>
        </p:spPr>
        <p:txBody>
          <a:bodyPr vert="horz"/>
          <a:lstStyle>
            <a:lvl1pPr>
              <a:lnSpc>
                <a:spcPts val="3200"/>
              </a:lnSpc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6116" y="1699684"/>
            <a:ext cx="4176713" cy="4059767"/>
          </a:xfrm>
        </p:spPr>
        <p:txBody>
          <a:bodyPr/>
          <a:lstStyle>
            <a:lvl1pPr marL="0" indent="0">
              <a:buNone/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643438" y="1699684"/>
            <a:ext cx="4248150" cy="4059767"/>
          </a:xfrm>
        </p:spPr>
        <p:txBody>
          <a:bodyPr>
            <a:normAutofit/>
          </a:bodyPr>
          <a:lstStyle>
            <a:lvl1pPr>
              <a:defRPr sz="1600">
                <a:latin typeface="voestalpine" panose="020B0500030000000000" pitchFamily="34" charset="0"/>
              </a:defRPr>
            </a:lvl1pPr>
            <a:lvl2pPr>
              <a:defRPr sz="1600">
                <a:latin typeface="voestalpine" panose="020B0500030000000000" pitchFamily="34" charset="0"/>
              </a:defRPr>
            </a:lvl2pPr>
            <a:lvl3pPr>
              <a:defRPr sz="1400">
                <a:latin typeface="voestalpine" panose="020B0500030000000000" pitchFamily="34" charset="0"/>
              </a:defRPr>
            </a:lvl3pPr>
            <a:lvl4pPr>
              <a:defRPr sz="1200">
                <a:latin typeface="voestalpine" panose="020B0500030000000000" pitchFamily="34" charset="0"/>
              </a:defRPr>
            </a:lvl4pPr>
            <a:lvl5pPr>
              <a:defRPr sz="1200">
                <a:latin typeface="voestalpine" panose="020B0500030000000000" pitchFamily="34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AT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cxnSp>
        <p:nvCxnSpPr>
          <p:cNvPr id="12" name="Gerade Verbindung 9"/>
          <p:cNvCxnSpPr/>
          <p:nvPr userDrawn="1"/>
        </p:nvCxnSpPr>
        <p:spPr>
          <a:xfrm>
            <a:off x="255588" y="1411111"/>
            <a:ext cx="60499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5" y="220250"/>
            <a:ext cx="2064903" cy="123289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5EF063D-A11A-4BD7-8523-06E3C9D30943}" type="datetime1">
              <a:rPr lang="de-AT" smtClean="0"/>
              <a:t>24.10.2024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848632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große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89F96D1-5C07-43FB-8530-20FEEBF0B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200999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89F96D1-5C07-43FB-8530-20FEEBF0B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8" y="203200"/>
            <a:ext cx="6049962" cy="1212800"/>
          </a:xfrm>
        </p:spPr>
        <p:txBody>
          <a:bodyPr vert="horz"/>
          <a:lstStyle>
            <a:lvl1pPr>
              <a:lnSpc>
                <a:spcPts val="3200"/>
              </a:lnSpc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6116" y="1699684"/>
            <a:ext cx="2016125" cy="4059767"/>
          </a:xfrm>
        </p:spPr>
        <p:txBody>
          <a:bodyPr/>
          <a:lstStyle>
            <a:lvl1pPr marL="0" indent="0">
              <a:buNone/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5"/>
          </p:nvPr>
        </p:nvSpPr>
        <p:spPr>
          <a:xfrm>
            <a:off x="2416704" y="1699684"/>
            <a:ext cx="2016124" cy="4059767"/>
          </a:xfrm>
        </p:spPr>
        <p:txBody>
          <a:bodyPr/>
          <a:lstStyle>
            <a:lvl1pPr marL="0" indent="0">
              <a:buNone/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643439" y="1699684"/>
            <a:ext cx="4176712" cy="4059767"/>
          </a:xfrm>
        </p:spPr>
        <p:txBody>
          <a:bodyPr/>
          <a:lstStyle>
            <a:lvl1pPr>
              <a:defRPr sz="1600">
                <a:latin typeface="voestalpine" panose="020B0500030000000000" pitchFamily="34" charset="0"/>
              </a:defRPr>
            </a:lvl1pPr>
            <a:lvl2pPr>
              <a:defRPr sz="1600">
                <a:latin typeface="voestalpine" panose="020B0500030000000000" pitchFamily="34" charset="0"/>
              </a:defRPr>
            </a:lvl2pPr>
            <a:lvl3pPr>
              <a:defRPr sz="1400">
                <a:latin typeface="voestalpine" panose="020B0500030000000000" pitchFamily="34" charset="0"/>
              </a:defRPr>
            </a:lvl3pPr>
            <a:lvl4pPr>
              <a:defRPr sz="1200">
                <a:latin typeface="voestalpine" panose="020B0500030000000000" pitchFamily="34" charset="0"/>
              </a:defRPr>
            </a:lvl4pPr>
            <a:lvl5pPr>
              <a:defRPr sz="1600">
                <a:latin typeface="voestalpine" panose="020B0500030000000000" pitchFamily="34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  <p:cxnSp>
        <p:nvCxnSpPr>
          <p:cNvPr id="13" name="Gerade Verbindung 9"/>
          <p:cNvCxnSpPr/>
          <p:nvPr userDrawn="1"/>
        </p:nvCxnSpPr>
        <p:spPr>
          <a:xfrm>
            <a:off x="255588" y="1411111"/>
            <a:ext cx="60499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5" y="220250"/>
            <a:ext cx="2064903" cy="1232891"/>
          </a:xfrm>
          <a:prstGeom prst="rect">
            <a:avLst/>
          </a:prstGeom>
        </p:spPr>
      </p:pic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93491422-A70A-4AC2-B3C5-540CC387BC52}" type="datetime1">
              <a:rPr lang="de-AT" smtClean="0"/>
              <a:t>24.10.2024</a:t>
            </a:fld>
            <a:endParaRPr lang="de-AT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997412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4 kleine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1F88E0-E8DB-4BC0-91BB-E549B1E46B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793442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1F88E0-E8DB-4BC0-91BB-E549B1E46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8" y="203200"/>
            <a:ext cx="6049962" cy="1212800"/>
          </a:xfrm>
        </p:spPr>
        <p:txBody>
          <a:bodyPr vert="horz"/>
          <a:lstStyle>
            <a:lvl1pPr>
              <a:lnSpc>
                <a:spcPts val="3200"/>
              </a:lnSpc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6116" y="1699685"/>
            <a:ext cx="2016124" cy="14478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5"/>
          </p:nvPr>
        </p:nvSpPr>
        <p:spPr>
          <a:xfrm>
            <a:off x="2416704" y="1699685"/>
            <a:ext cx="2016124" cy="14478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16"/>
          </p:nvPr>
        </p:nvSpPr>
        <p:spPr>
          <a:xfrm>
            <a:off x="255162" y="3253317"/>
            <a:ext cx="2016124" cy="14478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16" name="Bildplatzhalter 6"/>
          <p:cNvSpPr>
            <a:spLocks noGrp="1"/>
          </p:cNvSpPr>
          <p:nvPr>
            <p:ph type="pic" sz="quarter" idx="17"/>
          </p:nvPr>
        </p:nvSpPr>
        <p:spPr>
          <a:xfrm>
            <a:off x="2416704" y="3264325"/>
            <a:ext cx="2016124" cy="14478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643438" y="1699684"/>
            <a:ext cx="4248150" cy="4059767"/>
          </a:xfrm>
        </p:spPr>
        <p:txBody>
          <a:bodyPr/>
          <a:lstStyle>
            <a:lvl1pPr>
              <a:defRPr sz="1600">
                <a:latin typeface="voestalpine" panose="020B0500030000000000" pitchFamily="34" charset="0"/>
              </a:defRPr>
            </a:lvl1pPr>
            <a:lvl2pPr>
              <a:defRPr sz="1600">
                <a:latin typeface="voestalpine" panose="020B0500030000000000" pitchFamily="34" charset="0"/>
              </a:defRPr>
            </a:lvl2pPr>
            <a:lvl3pPr>
              <a:defRPr sz="1400">
                <a:latin typeface="voestalpine" panose="020B0500030000000000" pitchFamily="34" charset="0"/>
              </a:defRPr>
            </a:lvl3pPr>
            <a:lvl4pPr>
              <a:defRPr sz="1200">
                <a:latin typeface="voestalpine" panose="020B0500030000000000" pitchFamily="34" charset="0"/>
              </a:defRPr>
            </a:lvl4pPr>
            <a:lvl5pPr>
              <a:defRPr sz="1600">
                <a:latin typeface="voestalpine" panose="020B0500030000000000" pitchFamily="34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  <p:cxnSp>
        <p:nvCxnSpPr>
          <p:cNvPr id="17" name="Gerade Verbindung 9"/>
          <p:cNvCxnSpPr/>
          <p:nvPr userDrawn="1"/>
        </p:nvCxnSpPr>
        <p:spPr>
          <a:xfrm>
            <a:off x="255588" y="1411111"/>
            <a:ext cx="60499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5" y="220250"/>
            <a:ext cx="2064903" cy="1232891"/>
          </a:xfrm>
          <a:prstGeom prst="rect">
            <a:avLst/>
          </a:prstGeom>
        </p:spPr>
      </p:pic>
      <p:sp>
        <p:nvSpPr>
          <p:cNvPr id="24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8A4F60A9-6CD4-405A-8188-28030002DB22}" type="datetime1">
              <a:rPr lang="de-AT" smtClean="0"/>
              <a:t>24.10.2024</a:t>
            </a:fld>
            <a:endParaRPr lang="de-AT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234269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kleine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53FCB1D-A483-40C8-A0DC-F76E17A808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444932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53FCB1D-A483-40C8-A0DC-F76E17A80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8" y="203200"/>
            <a:ext cx="6049962" cy="1212800"/>
          </a:xfrm>
        </p:spPr>
        <p:txBody>
          <a:bodyPr vert="horz"/>
          <a:lstStyle>
            <a:lvl1pPr>
              <a:lnSpc>
                <a:spcPts val="3200"/>
              </a:lnSpc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56116" y="1699685"/>
            <a:ext cx="2016124" cy="14478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2484439" y="1699684"/>
            <a:ext cx="6407150" cy="4059767"/>
          </a:xfrm>
        </p:spPr>
        <p:txBody>
          <a:bodyPr>
            <a:normAutofit/>
          </a:bodyPr>
          <a:lstStyle>
            <a:lvl1pPr>
              <a:defRPr sz="1600">
                <a:latin typeface="voestalpine" panose="020B0500030000000000" pitchFamily="34" charset="0"/>
              </a:defRPr>
            </a:lvl1pPr>
            <a:lvl2pPr>
              <a:defRPr sz="1600">
                <a:latin typeface="voestalpine" panose="020B0500030000000000" pitchFamily="34" charset="0"/>
              </a:defRPr>
            </a:lvl2pPr>
            <a:lvl3pPr>
              <a:defRPr sz="1400">
                <a:latin typeface="voestalpine" panose="020B0500030000000000" pitchFamily="34" charset="0"/>
              </a:defRPr>
            </a:lvl3pPr>
            <a:lvl4pPr>
              <a:defRPr sz="1200">
                <a:latin typeface="voestalpine" panose="020B0500030000000000" pitchFamily="34" charset="0"/>
              </a:defRPr>
            </a:lvl4pPr>
            <a:lvl5pPr>
              <a:defRPr sz="1600">
                <a:latin typeface="voestalpine" panose="020B0500030000000000" pitchFamily="34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16"/>
          </p:nvPr>
        </p:nvSpPr>
        <p:spPr>
          <a:xfrm>
            <a:off x="255162" y="3253317"/>
            <a:ext cx="2016124" cy="14478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Bild durch Klicken auf Symbol hinzufügen</a:t>
            </a:r>
            <a:endParaRPr lang="de-AT" noProof="0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  <p:cxnSp>
        <p:nvCxnSpPr>
          <p:cNvPr id="13" name="Gerade Verbindung 9"/>
          <p:cNvCxnSpPr/>
          <p:nvPr userDrawn="1"/>
        </p:nvCxnSpPr>
        <p:spPr>
          <a:xfrm>
            <a:off x="255588" y="1411111"/>
            <a:ext cx="60499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5" y="220250"/>
            <a:ext cx="2064903" cy="1232891"/>
          </a:xfrm>
          <a:prstGeom prst="rect">
            <a:avLst/>
          </a:prstGeom>
        </p:spPr>
      </p:pic>
      <p:sp>
        <p:nvSpPr>
          <p:cNvPr id="19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B698DCF-29CB-47EF-828A-13E0424B7D3D}" type="datetime1">
              <a:rPr lang="de-AT" smtClean="0"/>
              <a:t>24.10.2024</a:t>
            </a:fld>
            <a:endParaRPr lang="de-AT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301625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E5BDD4C-5DD4-46E5-901C-FCE0DD6DCA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9323404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E5BDD4C-5DD4-46E5-901C-FCE0DD6DC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8" y="203200"/>
            <a:ext cx="6049962" cy="1212800"/>
          </a:xfrm>
        </p:spPr>
        <p:txBody>
          <a:bodyPr vert="horz"/>
          <a:lstStyle>
            <a:lvl1pPr>
              <a:lnSpc>
                <a:spcPts val="3200"/>
              </a:lnSpc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469381" y="1699684"/>
            <a:ext cx="2422208" cy="4059767"/>
          </a:xfrm>
        </p:spPr>
        <p:txBody>
          <a:bodyPr>
            <a:normAutofit/>
          </a:bodyPr>
          <a:lstStyle>
            <a:lvl1pPr marL="179996" indent="-179996">
              <a:defRPr sz="1600">
                <a:latin typeface="voestalpine" panose="020B0500030000000000" pitchFamily="34" charset="0"/>
              </a:defRPr>
            </a:lvl1pPr>
            <a:lvl2pPr marL="179996" indent="-179996">
              <a:defRPr sz="1600">
                <a:latin typeface="voestalpine" panose="020B0500030000000000" pitchFamily="34" charset="0"/>
              </a:defRPr>
            </a:lvl2pPr>
            <a:lvl3pPr marL="359991" indent="-179996">
              <a:defRPr sz="1400">
                <a:latin typeface="voestalpine" panose="020B0500030000000000" pitchFamily="34" charset="0"/>
              </a:defRPr>
            </a:lvl3pPr>
            <a:lvl4pPr marL="539987" indent="-179996">
              <a:defRPr sz="1200">
                <a:latin typeface="voestalpine" panose="020B0500030000000000" pitchFamily="34" charset="0"/>
              </a:defRPr>
            </a:lvl4pPr>
            <a:lvl5pPr marL="719982" indent="-179996">
              <a:defRPr sz="1000">
                <a:latin typeface="voestalpine" panose="020B0500030000000000" pitchFamily="34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AT" noProof="0" dirty="0"/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15"/>
          </p:nvPr>
        </p:nvSpPr>
        <p:spPr>
          <a:xfrm>
            <a:off x="253469" y="1699684"/>
            <a:ext cx="5967412" cy="4059767"/>
          </a:xfrm>
        </p:spPr>
        <p:txBody>
          <a:bodyPr/>
          <a:lstStyle>
            <a:lvl1pPr marL="0" indent="0">
              <a:buNone/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Diagramm durch Klicken auf Symbol hinzufügen</a:t>
            </a:r>
            <a:endParaRPr lang="de-AT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  <p:cxnSp>
        <p:nvCxnSpPr>
          <p:cNvPr id="12" name="Gerade Verbindung 9"/>
          <p:cNvCxnSpPr/>
          <p:nvPr userDrawn="1"/>
        </p:nvCxnSpPr>
        <p:spPr>
          <a:xfrm>
            <a:off x="255588" y="1411111"/>
            <a:ext cx="60499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5" y="220250"/>
            <a:ext cx="2064903" cy="1232891"/>
          </a:xfrm>
          <a:prstGeom prst="rect">
            <a:avLst/>
          </a:prstGeom>
        </p:spPr>
      </p:pic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867BB619-CC9F-42DA-9F9A-F71401ADA0E8}" type="datetime1">
              <a:rPr lang="de-AT" smtClean="0"/>
              <a:t>24.10.2024</a:t>
            </a:fld>
            <a:endParaRPr lang="de-AT"/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727031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E6DEFA6-7178-4481-8F39-CB7471A740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698781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E6DEFA6-7178-4481-8F39-CB7471A740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8" y="203200"/>
            <a:ext cx="6049962" cy="1212800"/>
          </a:xfrm>
        </p:spPr>
        <p:txBody>
          <a:bodyPr vert="horz"/>
          <a:lstStyle>
            <a:lvl1pPr>
              <a:lnSpc>
                <a:spcPts val="3200"/>
              </a:lnSpc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de-AT" noProof="0" dirty="0"/>
          </a:p>
        </p:txBody>
      </p:sp>
      <p:sp>
        <p:nvSpPr>
          <p:cNvPr id="5" name="Tabellenplatzhalter 4"/>
          <p:cNvSpPr>
            <a:spLocks noGrp="1"/>
          </p:cNvSpPr>
          <p:nvPr>
            <p:ph type="tbl" sz="quarter" idx="16"/>
          </p:nvPr>
        </p:nvSpPr>
        <p:spPr>
          <a:xfrm>
            <a:off x="256115" y="1699684"/>
            <a:ext cx="5981700" cy="4059767"/>
          </a:xfrm>
        </p:spPr>
        <p:txBody>
          <a:bodyPr/>
          <a:lstStyle>
            <a:lvl1pPr marL="0" indent="0">
              <a:buNone/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Tabelle durch Klicken auf Symbol hinzufügen</a:t>
            </a:r>
            <a:endParaRPr lang="de-AT" noProof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469381" y="1699684"/>
            <a:ext cx="2422208" cy="4059767"/>
          </a:xfrm>
        </p:spPr>
        <p:txBody>
          <a:bodyPr>
            <a:normAutofit/>
          </a:bodyPr>
          <a:lstStyle>
            <a:lvl1pPr marL="179996" indent="-179996">
              <a:defRPr sz="1600">
                <a:latin typeface="voestalpine" panose="020B0500030000000000" pitchFamily="34" charset="0"/>
              </a:defRPr>
            </a:lvl1pPr>
            <a:lvl2pPr marL="179996" indent="-179996">
              <a:defRPr sz="1600">
                <a:latin typeface="voestalpine" panose="020B0500030000000000" pitchFamily="34" charset="0"/>
              </a:defRPr>
            </a:lvl2pPr>
            <a:lvl3pPr marL="359991" indent="-179996">
              <a:defRPr sz="1400">
                <a:latin typeface="voestalpine" panose="020B0500030000000000" pitchFamily="34" charset="0"/>
              </a:defRPr>
            </a:lvl3pPr>
            <a:lvl4pPr marL="539987" indent="-179996">
              <a:defRPr sz="1200">
                <a:latin typeface="voestalpine" panose="020B0500030000000000" pitchFamily="34" charset="0"/>
              </a:defRPr>
            </a:lvl4pPr>
            <a:lvl5pPr marL="719982" indent="-179996">
              <a:defRPr sz="1000">
                <a:latin typeface="voestalpine" panose="020B0500030000000000" pitchFamily="34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AT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  <p:cxnSp>
        <p:nvCxnSpPr>
          <p:cNvPr id="12" name="Gerade Verbindung 9"/>
          <p:cNvCxnSpPr/>
          <p:nvPr userDrawn="1"/>
        </p:nvCxnSpPr>
        <p:spPr>
          <a:xfrm>
            <a:off x="255588" y="1411111"/>
            <a:ext cx="60499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5" y="220250"/>
            <a:ext cx="2064903" cy="1232891"/>
          </a:xfrm>
          <a:prstGeom prst="rect">
            <a:avLst/>
          </a:prstGeom>
        </p:spPr>
      </p:pic>
      <p:sp>
        <p:nvSpPr>
          <p:cNvPr id="16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6F243280-7A13-44FE-8E55-97A436D80C2F}" type="datetime1">
              <a:rPr lang="de-AT" smtClean="0"/>
              <a:t>24.10.2024</a:t>
            </a:fld>
            <a:endParaRPr lang="de-AT"/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948286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0616516-CDC3-4DD9-9E30-65A525EB10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9232535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0616516-CDC3-4DD9-9E30-65A525EB1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8" y="203200"/>
            <a:ext cx="6049962" cy="1212800"/>
          </a:xfrm>
        </p:spPr>
        <p:txBody>
          <a:bodyPr vert="horz"/>
          <a:lstStyle>
            <a:lvl1pPr>
              <a:lnSpc>
                <a:spcPts val="3200"/>
              </a:lnSpc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AT" noProof="0" dirty="0"/>
          </a:p>
        </p:txBody>
      </p:sp>
      <p:sp>
        <p:nvSpPr>
          <p:cNvPr id="4" name="SmartArt-Platzhalter 3"/>
          <p:cNvSpPr>
            <a:spLocks noGrp="1"/>
          </p:cNvSpPr>
          <p:nvPr>
            <p:ph type="dgm" sz="quarter" idx="17"/>
          </p:nvPr>
        </p:nvSpPr>
        <p:spPr>
          <a:xfrm>
            <a:off x="256115" y="1699684"/>
            <a:ext cx="5981700" cy="4059767"/>
          </a:xfrm>
        </p:spPr>
        <p:txBody>
          <a:bodyPr/>
          <a:lstStyle>
            <a:lvl1pPr marL="0" indent="0">
              <a:buNone/>
              <a:defRPr>
                <a:latin typeface="voestalpine" panose="020B0500030000000000" pitchFamily="34" charset="0"/>
              </a:defRPr>
            </a:lvl1pPr>
          </a:lstStyle>
          <a:p>
            <a:r>
              <a:rPr lang="de-DE" noProof="0"/>
              <a:t>Klicken Sie auf das Symbol, um die SmartArt-Grafik hinzuzufügen</a:t>
            </a:r>
            <a:endParaRPr lang="de-AT" noProof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469381" y="1699684"/>
            <a:ext cx="2422208" cy="4059767"/>
          </a:xfrm>
        </p:spPr>
        <p:txBody>
          <a:bodyPr>
            <a:normAutofit/>
          </a:bodyPr>
          <a:lstStyle>
            <a:lvl1pPr marL="179996" indent="-179996">
              <a:defRPr sz="1600">
                <a:latin typeface="voestalpine" panose="020B0500030000000000" pitchFamily="34" charset="0"/>
              </a:defRPr>
            </a:lvl1pPr>
            <a:lvl2pPr marL="179996" indent="-179996">
              <a:defRPr sz="1600">
                <a:latin typeface="voestalpine" panose="020B0500030000000000" pitchFamily="34" charset="0"/>
              </a:defRPr>
            </a:lvl2pPr>
            <a:lvl3pPr marL="359991" indent="-179996">
              <a:defRPr sz="1400">
                <a:latin typeface="voestalpine" panose="020B0500030000000000" pitchFamily="34" charset="0"/>
              </a:defRPr>
            </a:lvl3pPr>
            <a:lvl4pPr marL="539987" indent="-179996">
              <a:defRPr sz="1200">
                <a:latin typeface="voestalpine" panose="020B0500030000000000" pitchFamily="34" charset="0"/>
              </a:defRPr>
            </a:lvl4pPr>
            <a:lvl5pPr marL="719982" indent="-179996">
              <a:defRPr sz="1000">
                <a:latin typeface="voestalpine" panose="020B0500030000000000" pitchFamily="34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AT" noProof="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1795131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cxnSp>
        <p:nvCxnSpPr>
          <p:cNvPr id="12" name="Gerade Verbindung 9"/>
          <p:cNvCxnSpPr/>
          <p:nvPr userDrawn="1"/>
        </p:nvCxnSpPr>
        <p:spPr>
          <a:xfrm>
            <a:off x="255588" y="1411111"/>
            <a:ext cx="604996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5" y="220250"/>
            <a:ext cx="2064903" cy="123289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7B870F1-0933-474A-AD6A-3D2CD0FEB52A}" type="datetime1">
              <a:rPr lang="de-AT" smtClean="0"/>
              <a:t>24.10.2024</a:t>
            </a:fld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025058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W_Böhler Welding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F43C14-D90A-4349-BD15-B851C00528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832544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F43C14-D90A-4349-BD15-B851C0052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62" y="3401"/>
            <a:ext cx="9150263" cy="68512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7" y="1588680"/>
            <a:ext cx="7115814" cy="624312"/>
          </a:xfrm>
        </p:spPr>
        <p:txBody>
          <a:bodyPr vert="horz"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MASTERFORMAT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5587" y="2388297"/>
            <a:ext cx="8639175" cy="337115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69993" indent="-269993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marL="539987" indent="-269993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80998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1079973" indent="-269993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 marL="1799955" indent="-359991">
              <a:spcBef>
                <a:spcPts val="0"/>
              </a:spcBef>
              <a:defRPr sz="1200"/>
            </a:lvl6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1804656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261" y="129686"/>
            <a:ext cx="2210844" cy="1319177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57FFA269-CFAA-4968-8574-4B08EB4BA940}" type="datetime1">
              <a:rPr lang="de-AT" smtClean="0"/>
              <a:t>24.10.2024</a:t>
            </a:fld>
            <a:endParaRPr lang="de-AT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endParaRPr lang="de-AT"/>
          </a:p>
        </p:txBody>
      </p:sp>
      <p:cxnSp>
        <p:nvCxnSpPr>
          <p:cNvPr id="11" name="Gerade Verbindung 9"/>
          <p:cNvCxnSpPr/>
          <p:nvPr userDrawn="1"/>
        </p:nvCxnSpPr>
        <p:spPr>
          <a:xfrm>
            <a:off x="255588" y="2266369"/>
            <a:ext cx="604996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8869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W_weldCar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F5AF9CC-21A5-4B3C-99D2-E05A48C566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9728181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F5AF9CC-21A5-4B3C-99D2-E05A48C566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62" y="3401"/>
            <a:ext cx="9150263" cy="68512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7" y="1588680"/>
            <a:ext cx="7115814" cy="624312"/>
          </a:xfrm>
        </p:spPr>
        <p:txBody>
          <a:bodyPr vert="horz"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MASTERFORMAT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5587" y="2388297"/>
            <a:ext cx="8639175" cy="337115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69993" indent="-269993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marL="539987" indent="-269993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80998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1079973" indent="-269993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 marL="1799955" indent="-359991">
              <a:spcBef>
                <a:spcPts val="0"/>
              </a:spcBef>
              <a:defRPr sz="1200"/>
            </a:lvl6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1804656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3" y="129346"/>
            <a:ext cx="2234160" cy="1399911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15D8C3E6-26D6-48BC-847A-57BEFFD42B58}" type="datetime1">
              <a:rPr lang="de-AT" smtClean="0"/>
              <a:t>24.10.2024</a:t>
            </a:fld>
            <a:endParaRPr lang="de-AT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endParaRPr lang="de-AT"/>
          </a:p>
        </p:txBody>
      </p:sp>
      <p:cxnSp>
        <p:nvCxnSpPr>
          <p:cNvPr id="14" name="Gerade Verbindung 9"/>
          <p:cNvCxnSpPr/>
          <p:nvPr userDrawn="1"/>
        </p:nvCxnSpPr>
        <p:spPr>
          <a:xfrm>
            <a:off x="255588" y="2266369"/>
            <a:ext cx="604996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642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7CC7A7-87C8-4B20-B535-FE32C46DF9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2926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W_automa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AFCDE97-10CC-4DFA-9A0F-5508DDC48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35476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AFCDE97-10CC-4DFA-9A0F-5508DDC48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62" y="3401"/>
            <a:ext cx="9150263" cy="68512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7" y="1588680"/>
            <a:ext cx="7115814" cy="624312"/>
          </a:xfrm>
        </p:spPr>
        <p:txBody>
          <a:bodyPr vert="horz"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MASTERFORMAT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5587" y="2388297"/>
            <a:ext cx="8639175" cy="337115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69993" indent="-269993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marL="539987" indent="-269993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80998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1079973" indent="-269993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 marL="1799955" indent="-359991">
              <a:spcBef>
                <a:spcPts val="0"/>
              </a:spcBef>
              <a:defRPr sz="1200"/>
            </a:lvl6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1804656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3" y="134881"/>
            <a:ext cx="2234160" cy="1375493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8051D35B-CBCD-4456-A4B3-03FC70327185}" type="datetime1">
              <a:rPr lang="de-AT" smtClean="0"/>
              <a:t>24.10.2024</a:t>
            </a:fld>
            <a:endParaRPr lang="de-AT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endParaRPr lang="de-AT"/>
          </a:p>
        </p:txBody>
      </p:sp>
      <p:cxnSp>
        <p:nvCxnSpPr>
          <p:cNvPr id="11" name="Gerade Verbindung 9"/>
          <p:cNvCxnSpPr/>
          <p:nvPr userDrawn="1"/>
        </p:nvCxnSpPr>
        <p:spPr>
          <a:xfrm>
            <a:off x="255588" y="2266369"/>
            <a:ext cx="604996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36416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W_3Dpri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042C4AA-5CFA-4D7A-B0A1-1B2A9C63E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317668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042C4AA-5CFA-4D7A-B0A1-1B2A9C63E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62" y="3401"/>
            <a:ext cx="9150263" cy="68512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5587" y="1588680"/>
            <a:ext cx="7115814" cy="624312"/>
          </a:xfrm>
        </p:spPr>
        <p:txBody>
          <a:bodyPr vert="horz"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TITELMASTERFORMAT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5587" y="2388297"/>
            <a:ext cx="8639175" cy="3371155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269993" indent="-269993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marL="539987" indent="-269993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80998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1079973" indent="-269993"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  <a:lvl6pPr marL="1799955" indent="-359991">
              <a:spcBef>
                <a:spcPts val="0"/>
              </a:spcBef>
              <a:defRPr sz="1200"/>
            </a:lvl6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1804656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51" y="145551"/>
            <a:ext cx="2214064" cy="1398784"/>
          </a:xfrm>
          <a:prstGeom prst="rect">
            <a:avLst/>
          </a:prstGeom>
        </p:spPr>
      </p:pic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fld id="{900EF5A8-2187-4134-A851-F65FF3E2ED07}" type="datetime1">
              <a:rPr lang="de-AT" smtClean="0"/>
              <a:t>24.10.2024</a:t>
            </a:fld>
            <a:endParaRPr lang="de-AT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endParaRPr lang="de-AT"/>
          </a:p>
        </p:txBody>
      </p:sp>
      <p:cxnSp>
        <p:nvCxnSpPr>
          <p:cNvPr id="11" name="Gerade Verbindung 9"/>
          <p:cNvCxnSpPr/>
          <p:nvPr userDrawn="1"/>
        </p:nvCxnSpPr>
        <p:spPr>
          <a:xfrm>
            <a:off x="255588" y="2266369"/>
            <a:ext cx="604996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65684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Clos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9D12F25-FFDA-4481-AB19-985FB5660D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6556788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9D12F25-FFDA-4481-AB19-985FB5660D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6116" y="1315720"/>
            <a:ext cx="8638648" cy="2179120"/>
          </a:xfrm>
        </p:spPr>
        <p:txBody>
          <a:bodyPr vert="horz" tIns="46800" bIns="46800"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 err="1"/>
              <a:t>Schluss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56116" y="3492502"/>
            <a:ext cx="8638648" cy="2139951"/>
          </a:xfrm>
        </p:spPr>
        <p:txBody>
          <a:bodyPr lIns="0" tIns="46800" bIns="4680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/>
        </p:nvCxnSpPr>
        <p:spPr>
          <a:xfrm>
            <a:off x="255589" y="3508023"/>
            <a:ext cx="863600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1804656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95CA3-89CF-45C1-9EA3-733F518447CD}" type="datetime1">
              <a:rPr lang="de-AT" smtClean="0"/>
              <a:t>24.10.2024</a:t>
            </a:fld>
            <a:endParaRPr lang="de-AT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76967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02B38A8-E620-4E03-A544-52CEF5B40B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331359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02B38A8-E620-4E03-A544-52CEF5B40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4108"/>
            <a:ext cx="9143998" cy="6851901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9"/>
          <a:stretch/>
        </p:blipFill>
        <p:spPr>
          <a:xfrm>
            <a:off x="3487892" y="-11284"/>
            <a:ext cx="5656109" cy="6871205"/>
          </a:xfrm>
          <a:prstGeom prst="rect">
            <a:avLst/>
          </a:prstGeom>
        </p:spPr>
      </p:pic>
      <p:sp>
        <p:nvSpPr>
          <p:cNvPr id="14" name="Rechteck 13"/>
          <p:cNvSpPr/>
          <p:nvPr userDrawn="1"/>
        </p:nvSpPr>
        <p:spPr>
          <a:xfrm>
            <a:off x="519651" y="1266957"/>
            <a:ext cx="476796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100000"/>
              </a:lnSpc>
              <a:buFontTx/>
              <a:buNone/>
            </a:pPr>
            <a:r>
              <a:rPr lang="de-DE" altLang="de-DE" sz="6600" cap="all" dirty="0" err="1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oestalpine" panose="020B0500030000000000" pitchFamily="34" charset="0"/>
              </a:rPr>
              <a:t>Join</a:t>
            </a:r>
            <a:r>
              <a:rPr lang="de-DE" altLang="de-DE" sz="6600" cap="all" dirty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oestalpine" panose="020B0500030000000000" pitchFamily="34" charset="0"/>
              </a:rPr>
              <a:t> </a:t>
            </a:r>
            <a:r>
              <a:rPr lang="de-DE" altLang="de-DE" sz="6600" cap="all" dirty="0" err="1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oestalpine" panose="020B0500030000000000" pitchFamily="34" charset="0"/>
              </a:rPr>
              <a:t>Now</a:t>
            </a:r>
            <a:endParaRPr lang="de-DE" altLang="de-DE" sz="6600" cap="all" dirty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oestalpine" panose="020B0500030000000000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548127" y="2545317"/>
            <a:ext cx="4767966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100000"/>
              </a:lnSpc>
              <a:buFontTx/>
              <a:buNone/>
            </a:pPr>
            <a:r>
              <a:rPr lang="de-DE" altLang="de-DE" sz="2500" dirty="0">
                <a:solidFill>
                  <a:schemeClr val="accent6">
                    <a:lumMod val="50000"/>
                  </a:schemeClr>
                </a:solidFill>
                <a:latin typeface="voestalpine Light" panose="020B0300030000000000" pitchFamily="34" charset="0"/>
              </a:rPr>
              <a:t>www.voestalpine.com/welding</a:t>
            </a:r>
          </a:p>
        </p:txBody>
      </p:sp>
    </p:spTree>
    <p:extLst>
      <p:ext uri="{BB962C8B-B14F-4D97-AF65-F5344CB8AC3E}">
        <p14:creationId xmlns:p14="http://schemas.microsoft.com/office/powerpoint/2010/main" val="15196515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139520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000" b="0" i="0" baseline="0" dirty="0">
              <a:latin typeface="voestalpine" panose="020B0500030000000000" pitchFamily="34" charset="0"/>
              <a:ea typeface="+mj-ea"/>
              <a:cs typeface="+mj-cs"/>
              <a:sym typeface="voestalpine" panose="020B0500030000000000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8764" y="609596"/>
            <a:ext cx="8632825" cy="569839"/>
          </a:xfrm>
        </p:spPr>
        <p:txBody>
          <a:bodyPr vert="horz"/>
          <a:lstStyle>
            <a:lvl1pPr>
              <a:lnSpc>
                <a:spcPts val="3200"/>
              </a:lnSpc>
              <a:defRPr/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519065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1499856" y="6333719"/>
            <a:ext cx="203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|</a:t>
            </a:r>
          </a:p>
        </p:txBody>
      </p:sp>
      <p:cxnSp>
        <p:nvCxnSpPr>
          <p:cNvPr id="21" name="Gerade Verbindung 20"/>
          <p:cNvCxnSpPr/>
          <p:nvPr userDrawn="1"/>
        </p:nvCxnSpPr>
        <p:spPr>
          <a:xfrm>
            <a:off x="255589" y="1174545"/>
            <a:ext cx="8636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58763" y="246448"/>
            <a:ext cx="8636000" cy="372533"/>
          </a:xfrm>
        </p:spPr>
        <p:txBody>
          <a:bodyPr>
            <a:noAutofit/>
          </a:bodyPr>
          <a:lstStyle>
            <a:lvl1pPr marL="17999" indent="0">
              <a:buNone/>
              <a:defRPr sz="2000"/>
            </a:lvl1pPr>
          </a:lstStyle>
          <a:p>
            <a:pPr lvl="0"/>
            <a:r>
              <a:rPr lang="en-US" dirty="0"/>
              <a:t>Xxx (1/x)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258764" y="1637669"/>
            <a:ext cx="8632825" cy="4133851"/>
          </a:xfrm>
        </p:spPr>
        <p:txBody>
          <a:bodyPr/>
          <a:lstStyle>
            <a:lvl1pPr>
              <a:defRPr/>
            </a:lvl1pPr>
            <a:lvl2pPr>
              <a:defRPr sz="1200"/>
            </a:lvl2pPr>
            <a:lvl3pPr>
              <a:defRPr sz="1000"/>
            </a:lvl3pPr>
            <a:lvl4pPr>
              <a:defRPr sz="800"/>
            </a:lvl4pPr>
            <a:lvl5pPr>
              <a:defRPr sz="600"/>
            </a:lvl5pPr>
          </a:lstStyle>
          <a:p>
            <a:pPr lvl="1"/>
            <a:r>
              <a:rPr lang="en-US" dirty="0"/>
              <a:t>xxx</a:t>
            </a:r>
          </a:p>
          <a:p>
            <a:pPr lvl="2"/>
            <a:r>
              <a:rPr lang="en-US" dirty="0"/>
              <a:t>xxx</a:t>
            </a:r>
          </a:p>
          <a:p>
            <a:pPr lvl="3"/>
            <a:r>
              <a:rPr lang="en-US" dirty="0"/>
              <a:t>xxx</a:t>
            </a:r>
          </a:p>
          <a:p>
            <a:pPr lvl="4"/>
            <a:r>
              <a:rPr lang="en-US" dirty="0"/>
              <a:t>xxx</a:t>
            </a: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543825" y="6277329"/>
            <a:ext cx="973826" cy="36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en-US" dirty="0"/>
              <a:t>15-Feb-22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660525" y="6277331"/>
            <a:ext cx="44640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en-US" dirty="0"/>
              <a:t>vaBW Group Strategy 2025 - weldCare</a:t>
            </a:r>
          </a:p>
        </p:txBody>
      </p:sp>
    </p:spTree>
    <p:extLst>
      <p:ext uri="{BB962C8B-B14F-4D97-AF65-F5344CB8AC3E}">
        <p14:creationId xmlns:p14="http://schemas.microsoft.com/office/powerpoint/2010/main" val="17057460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495311"/>
            <a:ext cx="8496300" cy="6200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23850" y="1701276"/>
            <a:ext cx="8496300" cy="38384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543825" y="6275392"/>
            <a:ext cx="656326" cy="364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sv-SE"/>
              <a:t>Mai, 2021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3326" y="6274646"/>
            <a:ext cx="4464045" cy="3650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en-US" sz="700"/>
              <a:t>FC Product Portfolio for Cleaning,Pickling &amp; Passivation of Stainless Steel Ocxt 2022</a:t>
            </a:r>
            <a:endParaRPr lang="de-AT" sz="70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7" y="6275393"/>
            <a:ext cx="285749" cy="3650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2867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495311"/>
            <a:ext cx="8496300" cy="6200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543825" y="6275392"/>
            <a:ext cx="656326" cy="364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sv-SE"/>
              <a:t>Mai, 2021</a:t>
            </a:r>
            <a:endParaRPr lang="en-US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0152" y="5665046"/>
            <a:ext cx="4464045" cy="3650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en-US"/>
              <a:t>FC Product Portfolio for Cleaning,Pickling &amp; Passivation of Stainless Steel Ocxt 2022</a:t>
            </a:r>
            <a:endParaRPr lang="en-US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7" y="6275393"/>
            <a:ext cx="285749" cy="3650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72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6850" y="292102"/>
            <a:ext cx="8648550" cy="9525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66851" y="1699687"/>
            <a:ext cx="4187511" cy="2976033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643438" y="1699686"/>
            <a:ext cx="4266000" cy="2976033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539635" y="6340855"/>
            <a:ext cx="592595" cy="273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sv-SE"/>
              <a:t>Mai, 2021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32230" y="6340611"/>
            <a:ext cx="334803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en-US"/>
              <a:t>FC Product Portfolio for Cleaning,Pickling &amp; Passivation of Stainless Steel Ocxt 2022</a:t>
            </a:r>
            <a:endParaRPr lang="de-AT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23853" y="6340855"/>
            <a:ext cx="21431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9746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1994302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objekt 3"/>
          <p:cNvPicPr>
            <a:picLocks noChangeAspect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483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970"/>
            <a:ext cx="9150176" cy="8130313"/>
          </a:xfrm>
          <a:prstGeom prst="rect">
            <a:avLst/>
          </a:prstGeom>
        </p:spPr>
      </p:pic>
      <p:pic>
        <p:nvPicPr>
          <p:cNvPr id="23" name="Picture 3" descr="C:\Users\v704932\Documents\00_Arbeitsdaten_Krische\Präsentationen\Präsentationen neues Logo_190917\va logo rgb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064" y="5542295"/>
            <a:ext cx="2849441" cy="132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/>
          <p:cNvSpPr txBox="1"/>
          <p:nvPr userDrawn="1"/>
        </p:nvSpPr>
        <p:spPr>
          <a:xfrm>
            <a:off x="256116" y="6327072"/>
            <a:ext cx="587798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b="0" noProof="0" dirty="0">
                <a:solidFill>
                  <a:schemeClr val="tx1"/>
                </a:solidFill>
                <a:latin typeface="voestalpine Light" panose="020B0300030000000000" pitchFamily="34" charset="0"/>
              </a:rPr>
              <a:t>www.voestalpine.com/welding</a:t>
            </a:r>
          </a:p>
        </p:txBody>
      </p:sp>
      <p:sp>
        <p:nvSpPr>
          <p:cNvPr id="26" name="Textfeld 25"/>
          <p:cNvSpPr txBox="1"/>
          <p:nvPr userDrawn="1"/>
        </p:nvSpPr>
        <p:spPr>
          <a:xfrm>
            <a:off x="256116" y="6090659"/>
            <a:ext cx="587798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b="1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voestalpine Böhler</a:t>
            </a:r>
            <a:r>
              <a:rPr lang="en-US" sz="1100" b="1" baseline="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 Welding</a:t>
            </a:r>
            <a:endParaRPr lang="en-US" sz="1100" b="1" noProof="0" dirty="0">
              <a:solidFill>
                <a:schemeClr val="tx1"/>
              </a:solidFill>
              <a:latin typeface="voestalpine" panose="020B0500030000000000" pitchFamily="34" charset="0"/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256116" y="6090659"/>
            <a:ext cx="5877985" cy="405692"/>
            <a:chOff x="256115" y="4567992"/>
            <a:chExt cx="5877985" cy="304269"/>
          </a:xfrm>
        </p:grpSpPr>
        <p:sp>
          <p:nvSpPr>
            <p:cNvPr id="16" name="Textfeld 15"/>
            <p:cNvSpPr txBox="1"/>
            <p:nvPr userDrawn="1"/>
          </p:nvSpPr>
          <p:spPr>
            <a:xfrm>
              <a:off x="256115" y="4745303"/>
              <a:ext cx="5877985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100" b="0" noProof="0" dirty="0">
                  <a:solidFill>
                    <a:schemeClr val="tx1"/>
                  </a:solidFill>
                  <a:latin typeface="voestalpine Light" panose="020B0300030000000000" pitchFamily="34" charset="0"/>
                </a:rPr>
                <a:t>www.voestalpine.com/welding</a:t>
              </a:r>
            </a:p>
          </p:txBody>
        </p:sp>
        <p:sp>
          <p:nvSpPr>
            <p:cNvPr id="18" name="Textfeld 17"/>
            <p:cNvSpPr txBox="1"/>
            <p:nvPr userDrawn="1"/>
          </p:nvSpPr>
          <p:spPr>
            <a:xfrm>
              <a:off x="256115" y="4567992"/>
              <a:ext cx="5877985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100" b="1" noProof="0" dirty="0">
                  <a:solidFill>
                    <a:schemeClr val="tx1"/>
                  </a:solidFill>
                  <a:latin typeface="voestalpine" panose="020B0500030000000000" pitchFamily="34" charset="0"/>
                </a:rPr>
                <a:t>voestalpine Böhler</a:t>
              </a:r>
              <a:r>
                <a:rPr lang="en-US" sz="1100" b="1" baseline="0" noProof="0" dirty="0">
                  <a:solidFill>
                    <a:schemeClr val="tx1"/>
                  </a:solidFill>
                  <a:latin typeface="voestalpine" panose="020B0500030000000000" pitchFamily="34" charset="0"/>
                </a:rPr>
                <a:t> Welding</a:t>
              </a:r>
              <a:endParaRPr lang="en-US" sz="1100" b="1" noProof="0" dirty="0">
                <a:solidFill>
                  <a:schemeClr val="tx1"/>
                </a:solidFill>
                <a:latin typeface="voestalpine" panose="020B0500030000000000" pitchFamily="34" charset="0"/>
              </a:endParaRPr>
            </a:p>
          </p:txBody>
        </p:sp>
      </p:grpSp>
      <p:pic>
        <p:nvPicPr>
          <p:cNvPr id="12" name="Picture 3" descr="C:\Users\v704932\Documents\00_Arbeitsdaten_Krische\Präsentationen\Präsentationen neues Logo_190917\va logo rgb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400" y="5551703"/>
            <a:ext cx="2849441" cy="132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C:\Users\v704932\Documents\00_Arbeitsdaten_Krische\Präsentationen\Präsentationen neues Logo_190917\voestschwung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4572995"/>
            <a:ext cx="9151391" cy="231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uppieren 18"/>
          <p:cNvGrpSpPr/>
          <p:nvPr userDrawn="1"/>
        </p:nvGrpSpPr>
        <p:grpSpPr>
          <a:xfrm>
            <a:off x="-1214" y="4571375"/>
            <a:ext cx="9151391" cy="2313449"/>
            <a:chOff x="0" y="3429745"/>
            <a:chExt cx="9151391" cy="1735087"/>
          </a:xfrm>
        </p:grpSpPr>
        <p:pic>
          <p:nvPicPr>
            <p:cNvPr id="21" name="Picture 2" descr="C:\Users\v704932\Documents\00_Arbeitsdaten_Krische\Präsentationen\Präsentationen neues Logo_190917\voestschwung.png"/>
            <p:cNvPicPr>
              <a:picLocks noChangeAspect="1" noChangeArrowheads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0" y="3429745"/>
              <a:ext cx="9151391" cy="1735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3" descr="C:\Users\v704932\Documents\00_Arbeitsdaten_Krische\Präsentationen\Präsentationen neues Logo_190917\va logo rgb.pn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5399" y="4162776"/>
              <a:ext cx="2849441" cy="995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4" name="Gruppieren 23"/>
            <p:cNvGrpSpPr/>
            <p:nvPr userDrawn="1"/>
          </p:nvGrpSpPr>
          <p:grpSpPr>
            <a:xfrm>
              <a:off x="256115" y="4567992"/>
              <a:ext cx="5877985" cy="304269"/>
              <a:chOff x="256115" y="4567992"/>
              <a:chExt cx="5877985" cy="304269"/>
            </a:xfrm>
          </p:grpSpPr>
          <p:sp>
            <p:nvSpPr>
              <p:cNvPr id="27" name="Textfeld 26"/>
              <p:cNvSpPr txBox="1"/>
              <p:nvPr userDrawn="1"/>
            </p:nvSpPr>
            <p:spPr>
              <a:xfrm>
                <a:off x="256115" y="4745303"/>
                <a:ext cx="5877985" cy="1269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 b="0" noProof="0" dirty="0">
                    <a:solidFill>
                      <a:schemeClr val="tx1"/>
                    </a:solidFill>
                    <a:latin typeface="voestalpine Light" panose="020B0300030000000000" pitchFamily="34" charset="0"/>
                  </a:rPr>
                  <a:t>www.voestalpine.com/welding</a:t>
                </a:r>
              </a:p>
            </p:txBody>
          </p:sp>
          <p:sp>
            <p:nvSpPr>
              <p:cNvPr id="28" name="Textfeld 27"/>
              <p:cNvSpPr txBox="1"/>
              <p:nvPr userDrawn="1"/>
            </p:nvSpPr>
            <p:spPr>
              <a:xfrm>
                <a:off x="256115" y="4567992"/>
                <a:ext cx="5877985" cy="1269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 b="1" noProof="0" dirty="0">
                    <a:solidFill>
                      <a:schemeClr val="tx1"/>
                    </a:solidFill>
                    <a:latin typeface="voestalpine" panose="020B0500030000000000" pitchFamily="34" charset="0"/>
                  </a:rPr>
                  <a:t>voestalpine Böhler</a:t>
                </a:r>
                <a:r>
                  <a:rPr lang="en-US" sz="1100" b="1" baseline="0" noProof="0" dirty="0">
                    <a:solidFill>
                      <a:schemeClr val="tx1"/>
                    </a:solidFill>
                    <a:latin typeface="voestalpine" panose="020B0500030000000000" pitchFamily="34" charset="0"/>
                  </a:rPr>
                  <a:t> Welding</a:t>
                </a:r>
                <a:endParaRPr lang="en-US" sz="1100" b="1" noProof="0" dirty="0">
                  <a:solidFill>
                    <a:schemeClr val="tx1"/>
                  </a:solidFill>
                  <a:latin typeface="voestalpine" panose="020B0500030000000000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50959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Mai, 2021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132230" y="6340611"/>
            <a:ext cx="3348034" cy="273844"/>
          </a:xfrm>
          <a:prstGeom prst="rect">
            <a:avLst/>
          </a:prstGeom>
        </p:spPr>
        <p:txBody>
          <a:bodyPr/>
          <a:lstStyle/>
          <a:p>
            <a:r>
              <a:rPr lang="de-DE"/>
              <a:t>Beiz- und  Reinigungschemikalien aus Malmö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2" descr="C:\Users\v704932\Documents\00_Arbeitsdaten_Krische\Präsentationen\Präsentationen neues Logo_190917\voestschwung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4546419"/>
            <a:ext cx="9144000" cy="2311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 userDrawn="1"/>
        </p:nvSpPr>
        <p:spPr bwMode="auto">
          <a:xfrm>
            <a:off x="1" y="1"/>
            <a:ext cx="9149517" cy="169277"/>
          </a:xfrm>
          <a:prstGeom prst="rect">
            <a:avLst/>
          </a:prstGeom>
          <a:solidFill>
            <a:srgbClr val="1D314E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9" name="Picture 2" descr="C:\Users\v704932\Documents\00_Arbeitsdaten_Krische\Präsentationen\Präsentationen neues Logo_190917\Zeichenfläche 3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68092" y="0"/>
            <a:ext cx="5583300" cy="6870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Gruppieren 23"/>
          <p:cNvGrpSpPr/>
          <p:nvPr userDrawn="1"/>
        </p:nvGrpSpPr>
        <p:grpSpPr>
          <a:xfrm>
            <a:off x="1" y="4572994"/>
            <a:ext cx="9151391" cy="2313449"/>
            <a:chOff x="0" y="3429745"/>
            <a:chExt cx="9151391" cy="1735087"/>
          </a:xfrm>
        </p:grpSpPr>
        <p:pic>
          <p:nvPicPr>
            <p:cNvPr id="10" name="Picture 2" descr="C:\Users\v704932\Documents\00_Arbeitsdaten_Krische\Präsentationen\Präsentationen neues Logo_190917\voestschwung.pn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3429745"/>
              <a:ext cx="9151391" cy="1735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3" descr="C:\Users\v704932\Documents\00_Arbeitsdaten_Krische\Präsentationen\Präsentationen neues Logo_190917\va logo rgb.png"/>
            <p:cNvPicPr>
              <a:picLocks noChangeAspect="1" noChangeArrowheads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5399" y="4162776"/>
              <a:ext cx="2849441" cy="995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3" name="Gruppieren 22"/>
            <p:cNvGrpSpPr/>
            <p:nvPr userDrawn="1"/>
          </p:nvGrpSpPr>
          <p:grpSpPr>
            <a:xfrm>
              <a:off x="256115" y="4567992"/>
              <a:ext cx="5877985" cy="304269"/>
              <a:chOff x="256115" y="4567992"/>
              <a:chExt cx="5877985" cy="304269"/>
            </a:xfrm>
          </p:grpSpPr>
          <p:sp>
            <p:nvSpPr>
              <p:cNvPr id="15" name="Textfeld 14"/>
              <p:cNvSpPr txBox="1"/>
              <p:nvPr userDrawn="1"/>
            </p:nvSpPr>
            <p:spPr>
              <a:xfrm>
                <a:off x="256115" y="4745303"/>
                <a:ext cx="5877985" cy="1269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 b="0" noProof="0" dirty="0">
                    <a:solidFill>
                      <a:schemeClr val="tx1"/>
                    </a:solidFill>
                    <a:latin typeface="voestalpine Light" panose="020B0300030000000000" pitchFamily="34" charset="0"/>
                  </a:rPr>
                  <a:t>www.voestalpine.com/welding</a:t>
                </a:r>
              </a:p>
            </p:txBody>
          </p:sp>
          <p:sp>
            <p:nvSpPr>
              <p:cNvPr id="16" name="Textfeld 15"/>
              <p:cNvSpPr txBox="1"/>
              <p:nvPr userDrawn="1"/>
            </p:nvSpPr>
            <p:spPr>
              <a:xfrm>
                <a:off x="256115" y="4567992"/>
                <a:ext cx="5877985" cy="1269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 b="1" noProof="0" dirty="0">
                    <a:solidFill>
                      <a:schemeClr val="tx1"/>
                    </a:solidFill>
                    <a:latin typeface="voestalpine" panose="020B0500030000000000" pitchFamily="34" charset="0"/>
                  </a:rPr>
                  <a:t>voestalpine Böhler</a:t>
                </a:r>
                <a:r>
                  <a:rPr lang="en-US" sz="1100" b="1" baseline="0" noProof="0" dirty="0">
                    <a:solidFill>
                      <a:schemeClr val="tx1"/>
                    </a:solidFill>
                    <a:latin typeface="voestalpine" panose="020B0500030000000000" pitchFamily="34" charset="0"/>
                  </a:rPr>
                  <a:t> Welding</a:t>
                </a:r>
                <a:endParaRPr lang="en-US" sz="1100" b="1" noProof="0" dirty="0">
                  <a:solidFill>
                    <a:schemeClr val="tx1"/>
                  </a:solidFill>
                  <a:latin typeface="voestalpine" panose="020B0500030000000000" pitchFamily="34" charset="0"/>
                </a:endParaRPr>
              </a:p>
            </p:txBody>
          </p:sp>
        </p:grp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00" y="456001"/>
            <a:ext cx="2090056" cy="1251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517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7A7F21-6994-46F9-9560-5C70703015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9326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 bwMode="auto">
          <a:xfrm>
            <a:off x="1" y="1"/>
            <a:ext cx="9149517" cy="169277"/>
          </a:xfrm>
          <a:prstGeom prst="rect">
            <a:avLst/>
          </a:prstGeom>
          <a:solidFill>
            <a:srgbClr val="1D314E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" name="Picture 3" descr="C:\Users\v704932\Documents\00_Arbeitsdaten_Krische\Präsentationen\Präsentationen neues Logo_190917\va logo rgb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59064" y="5542294"/>
            <a:ext cx="2849441" cy="132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/>
          <p:cNvSpPr txBox="1"/>
          <p:nvPr userDrawn="1"/>
        </p:nvSpPr>
        <p:spPr>
          <a:xfrm>
            <a:off x="256116" y="6327071"/>
            <a:ext cx="587798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b="0" noProof="0" dirty="0">
                <a:solidFill>
                  <a:schemeClr val="tx1"/>
                </a:solidFill>
                <a:latin typeface="voestalpine Light" panose="020B0300030000000000" pitchFamily="34" charset="0"/>
              </a:rPr>
              <a:t>www.voestalpine.com/welding</a:t>
            </a:r>
          </a:p>
        </p:txBody>
      </p:sp>
      <p:sp>
        <p:nvSpPr>
          <p:cNvPr id="26" name="Textfeld 25"/>
          <p:cNvSpPr txBox="1"/>
          <p:nvPr userDrawn="1"/>
        </p:nvSpPr>
        <p:spPr>
          <a:xfrm>
            <a:off x="256116" y="6090658"/>
            <a:ext cx="587798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 b="1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voestalpine Böhler</a:t>
            </a:r>
            <a:r>
              <a:rPr lang="en-US" sz="1100" b="1" baseline="0" noProof="0" dirty="0">
                <a:solidFill>
                  <a:schemeClr val="tx1"/>
                </a:solidFill>
                <a:latin typeface="voestalpine" panose="020B0500030000000000" pitchFamily="34" charset="0"/>
              </a:rPr>
              <a:t> Welding</a:t>
            </a:r>
            <a:endParaRPr lang="en-US" sz="1100" b="1" noProof="0" dirty="0">
              <a:solidFill>
                <a:schemeClr val="tx1"/>
              </a:solidFill>
              <a:latin typeface="voestalpine" panose="020B0500030000000000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00" y="456001"/>
            <a:ext cx="2090056" cy="1251031"/>
          </a:xfrm>
          <a:prstGeom prst="rect">
            <a:avLst/>
          </a:prstGeom>
        </p:spPr>
      </p:pic>
      <p:grpSp>
        <p:nvGrpSpPr>
          <p:cNvPr id="15" name="Gruppieren 14"/>
          <p:cNvGrpSpPr/>
          <p:nvPr userDrawn="1"/>
        </p:nvGrpSpPr>
        <p:grpSpPr>
          <a:xfrm>
            <a:off x="256116" y="6090660"/>
            <a:ext cx="5877985" cy="405692"/>
            <a:chOff x="256115" y="4567992"/>
            <a:chExt cx="5877985" cy="304269"/>
          </a:xfrm>
        </p:grpSpPr>
        <p:sp>
          <p:nvSpPr>
            <p:cNvPr id="16" name="Textfeld 15"/>
            <p:cNvSpPr txBox="1"/>
            <p:nvPr userDrawn="1"/>
          </p:nvSpPr>
          <p:spPr>
            <a:xfrm>
              <a:off x="256115" y="4745303"/>
              <a:ext cx="5877985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100" b="0" noProof="0" dirty="0">
                  <a:solidFill>
                    <a:schemeClr val="tx1"/>
                  </a:solidFill>
                  <a:latin typeface="voestalpine Light" panose="020B0300030000000000" pitchFamily="34" charset="0"/>
                </a:rPr>
                <a:t>www.voestalpine.com/welding</a:t>
              </a:r>
            </a:p>
          </p:txBody>
        </p:sp>
        <p:sp>
          <p:nvSpPr>
            <p:cNvPr id="18" name="Textfeld 17"/>
            <p:cNvSpPr txBox="1"/>
            <p:nvPr userDrawn="1"/>
          </p:nvSpPr>
          <p:spPr>
            <a:xfrm>
              <a:off x="256115" y="4567992"/>
              <a:ext cx="5877985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100" b="1" noProof="0" dirty="0">
                  <a:solidFill>
                    <a:schemeClr val="tx1"/>
                  </a:solidFill>
                  <a:latin typeface="voestalpine" panose="020B0500030000000000" pitchFamily="34" charset="0"/>
                </a:rPr>
                <a:t>voestalpine Böhler</a:t>
              </a:r>
              <a:r>
                <a:rPr lang="en-US" sz="1100" b="1" baseline="0" noProof="0" dirty="0">
                  <a:solidFill>
                    <a:schemeClr val="tx1"/>
                  </a:solidFill>
                  <a:latin typeface="voestalpine" panose="020B0500030000000000" pitchFamily="34" charset="0"/>
                </a:rPr>
                <a:t> Welding</a:t>
              </a:r>
              <a:endParaRPr lang="en-US" sz="1100" b="1" noProof="0" dirty="0">
                <a:solidFill>
                  <a:schemeClr val="tx1"/>
                </a:solidFill>
                <a:latin typeface="voestalpine" panose="020B0500030000000000" pitchFamily="34" charset="0"/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0648" y="264358"/>
            <a:ext cx="2041652" cy="6720439"/>
          </a:xfrm>
          <a:prstGeom prst="rect">
            <a:avLst/>
          </a:prstGeom>
        </p:spPr>
      </p:pic>
      <p:pic>
        <p:nvPicPr>
          <p:cNvPr id="12" name="Picture 3" descr="C:\Users\v704932\Documents\00_Arbeitsdaten_Krische\Präsentationen\Präsentationen neues Logo_190917\va logo rgb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6400" y="5551702"/>
            <a:ext cx="2849441" cy="132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C:\Users\v704932\Documents\00_Arbeitsdaten_Krische\Präsentationen\Präsentationen neues Logo_190917\voestschwung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4572994"/>
            <a:ext cx="9151391" cy="231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uppieren 18"/>
          <p:cNvGrpSpPr/>
          <p:nvPr userDrawn="1"/>
        </p:nvGrpSpPr>
        <p:grpSpPr>
          <a:xfrm>
            <a:off x="-1215" y="4571374"/>
            <a:ext cx="9151391" cy="2313449"/>
            <a:chOff x="0" y="3429745"/>
            <a:chExt cx="9151391" cy="1735087"/>
          </a:xfrm>
        </p:grpSpPr>
        <p:pic>
          <p:nvPicPr>
            <p:cNvPr id="21" name="Picture 2" descr="C:\Users\v704932\Documents\00_Arbeitsdaten_Krische\Präsentationen\Präsentationen neues Logo_190917\voestschwung.png"/>
            <p:cNvPicPr>
              <a:picLocks noChangeAspect="1" noChangeArrowheads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3429745"/>
              <a:ext cx="9151391" cy="1735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3" descr="C:\Users\v704932\Documents\00_Arbeitsdaten_Krische\Präsentationen\Präsentationen neues Logo_190917\va logo rgb.png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5399" y="4162776"/>
              <a:ext cx="2849441" cy="995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4" name="Gruppieren 23"/>
            <p:cNvGrpSpPr/>
            <p:nvPr userDrawn="1"/>
          </p:nvGrpSpPr>
          <p:grpSpPr>
            <a:xfrm>
              <a:off x="256115" y="4567992"/>
              <a:ext cx="5877985" cy="304269"/>
              <a:chOff x="256115" y="4567992"/>
              <a:chExt cx="5877985" cy="304269"/>
            </a:xfrm>
          </p:grpSpPr>
          <p:sp>
            <p:nvSpPr>
              <p:cNvPr id="27" name="Textfeld 26"/>
              <p:cNvSpPr txBox="1"/>
              <p:nvPr userDrawn="1"/>
            </p:nvSpPr>
            <p:spPr>
              <a:xfrm>
                <a:off x="256115" y="4745303"/>
                <a:ext cx="5877985" cy="1269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 b="0" noProof="0" dirty="0">
                    <a:solidFill>
                      <a:schemeClr val="tx1"/>
                    </a:solidFill>
                    <a:latin typeface="voestalpine Light" panose="020B0300030000000000" pitchFamily="34" charset="0"/>
                  </a:rPr>
                  <a:t>www.voestalpine.com/welding</a:t>
                </a:r>
              </a:p>
            </p:txBody>
          </p:sp>
          <p:sp>
            <p:nvSpPr>
              <p:cNvPr id="28" name="Textfeld 27"/>
              <p:cNvSpPr txBox="1"/>
              <p:nvPr userDrawn="1"/>
            </p:nvSpPr>
            <p:spPr>
              <a:xfrm>
                <a:off x="256115" y="4567992"/>
                <a:ext cx="5877985" cy="1269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 b="1" noProof="0" dirty="0">
                    <a:solidFill>
                      <a:schemeClr val="tx1"/>
                    </a:solidFill>
                    <a:latin typeface="voestalpine" panose="020B0500030000000000" pitchFamily="34" charset="0"/>
                  </a:rPr>
                  <a:t>voestalpine Böhler</a:t>
                </a:r>
                <a:r>
                  <a:rPr lang="en-US" sz="1100" b="1" baseline="0" noProof="0" dirty="0">
                    <a:solidFill>
                      <a:schemeClr val="tx1"/>
                    </a:solidFill>
                    <a:latin typeface="voestalpine" panose="020B0500030000000000" pitchFamily="34" charset="0"/>
                  </a:rPr>
                  <a:t> Welding</a:t>
                </a:r>
                <a:endParaRPr lang="en-US" sz="1100" b="1" noProof="0" dirty="0">
                  <a:solidFill>
                    <a:schemeClr val="tx1"/>
                  </a:solidFill>
                  <a:latin typeface="voestalpine" panose="020B0500030000000000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43224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30800" y="6278220"/>
            <a:ext cx="793200" cy="365125"/>
          </a:xfrm>
          <a:prstGeom prst="rect">
            <a:avLst/>
          </a:prstGeom>
        </p:spPr>
        <p:txBody>
          <a:bodyPr/>
          <a:lstStyle/>
          <a:p>
            <a:r>
              <a:rPr lang="sv-SE" noProof="0"/>
              <a:t>Mai, 2021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23854" y="6277332"/>
            <a:ext cx="431159" cy="365125"/>
          </a:xfrm>
          <a:prstGeom prst="rect">
            <a:avLst/>
          </a:prstGeom>
        </p:spPr>
        <p:txBody>
          <a:bodyPr/>
          <a:lstStyle/>
          <a:p>
            <a:fld id="{A7CD581C-92E0-41C6-BF48-DFCAD6021EE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25400"/>
            <a:ext cx="9143999" cy="6883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8988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30800" y="6278220"/>
            <a:ext cx="793200" cy="365125"/>
          </a:xfrm>
          <a:prstGeom prst="rect">
            <a:avLst/>
          </a:prstGeom>
        </p:spPr>
        <p:txBody>
          <a:bodyPr/>
          <a:lstStyle/>
          <a:p>
            <a:r>
              <a:rPr lang="sv-SE" noProof="0"/>
              <a:t>Mai, 2021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23854" y="6277332"/>
            <a:ext cx="431159" cy="365125"/>
          </a:xfrm>
          <a:prstGeom prst="rect">
            <a:avLst/>
          </a:prstGeom>
        </p:spPr>
        <p:txBody>
          <a:bodyPr/>
          <a:lstStyle/>
          <a:p>
            <a:fld id="{A7CD581C-92E0-41C6-BF48-DFCAD6021EE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533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30800" y="6278220"/>
            <a:ext cx="793200" cy="365125"/>
          </a:xfrm>
          <a:prstGeom prst="rect">
            <a:avLst/>
          </a:prstGeom>
        </p:spPr>
        <p:txBody>
          <a:bodyPr/>
          <a:lstStyle/>
          <a:p>
            <a:r>
              <a:rPr lang="sv-SE" noProof="0"/>
              <a:t>Mai, 2021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23854" y="6277332"/>
            <a:ext cx="431159" cy="365125"/>
          </a:xfrm>
          <a:prstGeom prst="rect">
            <a:avLst/>
          </a:prstGeom>
        </p:spPr>
        <p:txBody>
          <a:bodyPr/>
          <a:lstStyle/>
          <a:p>
            <a:fld id="{A7CD581C-92E0-41C6-BF48-DFCAD6021EE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04"/>
          <a:stretch/>
        </p:blipFill>
        <p:spPr bwMode="auto">
          <a:xfrm>
            <a:off x="9525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21128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30800" y="6278220"/>
            <a:ext cx="793200" cy="365125"/>
          </a:xfrm>
          <a:prstGeom prst="rect">
            <a:avLst/>
          </a:prstGeom>
        </p:spPr>
        <p:txBody>
          <a:bodyPr/>
          <a:lstStyle/>
          <a:p>
            <a:r>
              <a:rPr lang="sv-SE" noProof="0"/>
              <a:t>Mai, 2021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23854" y="6277332"/>
            <a:ext cx="431159" cy="365125"/>
          </a:xfrm>
          <a:prstGeom prst="rect">
            <a:avLst/>
          </a:prstGeom>
        </p:spPr>
        <p:txBody>
          <a:bodyPr/>
          <a:lstStyle/>
          <a:p>
            <a:fld id="{A7CD581C-92E0-41C6-BF48-DFCAD6021EE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6787"/>
            <a:ext cx="9143999" cy="6851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8622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9144000" cy="126958"/>
          </a:xfrm>
          <a:prstGeom prst="rect">
            <a:avLst/>
          </a:prstGeom>
          <a:solidFill>
            <a:srgbClr val="1D314E"/>
          </a:solidFill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825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6703" y="120060"/>
            <a:ext cx="863441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23854" y="6277332"/>
            <a:ext cx="43115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>
          <a:xfrm>
            <a:off x="266701" y="1619249"/>
            <a:ext cx="8630840" cy="3219451"/>
          </a:xfrm>
        </p:spPr>
        <p:txBody>
          <a:bodyPr/>
          <a:lstStyle>
            <a:lvl1pPr marL="257175" indent="-257175">
              <a:buClr>
                <a:schemeClr val="bg1"/>
              </a:buClr>
              <a:buFont typeface="voestalpine Light" panose="020B0300030000000000" pitchFamily="34" charset="0"/>
              <a:buChar char="»"/>
              <a:defRPr>
                <a:solidFill>
                  <a:schemeClr val="bg1"/>
                </a:solidFill>
              </a:defRPr>
            </a:lvl1pPr>
            <a:lvl2pPr marL="264600" indent="-264600">
              <a:buClr>
                <a:schemeClr val="bg1"/>
              </a:buClr>
              <a:buFont typeface="voestalpine Light" panose="020B0300030000000000" pitchFamily="34" charset="0"/>
              <a:buChar char="»"/>
              <a:defRPr>
                <a:solidFill>
                  <a:schemeClr val="bg1"/>
                </a:solidFill>
              </a:defRPr>
            </a:lvl2pPr>
            <a:lvl3pPr marL="477900" indent="-213300">
              <a:buClr>
                <a:schemeClr val="bg1"/>
              </a:buClr>
              <a:buFont typeface="voestalpine Light" panose="020B0300030000000000" pitchFamily="34" charset="0"/>
              <a:buChar char="»"/>
              <a:defRPr>
                <a:solidFill>
                  <a:schemeClr val="bg1"/>
                </a:solidFill>
              </a:defRPr>
            </a:lvl3pPr>
            <a:lvl4pPr marL="677700" indent="-198835">
              <a:buClr>
                <a:schemeClr val="bg1"/>
              </a:buClr>
              <a:buFont typeface="voestalpine Light" panose="020B0300030000000000" pitchFamily="34" charset="0"/>
              <a:buChar char="»"/>
              <a:defRPr>
                <a:solidFill>
                  <a:schemeClr val="bg1"/>
                </a:solidFill>
              </a:defRPr>
            </a:lvl4pPr>
            <a:lvl5pPr marL="677700" indent="-199800">
              <a:buClr>
                <a:schemeClr val="bg1"/>
              </a:buClr>
              <a:buFont typeface="voestalpine Light" panose="020B0300030000000000" pitchFamily="34" charset="0"/>
              <a:buChar char="»"/>
              <a:defRPr sz="900">
                <a:solidFill>
                  <a:schemeClr val="bg1"/>
                </a:solidFill>
                <a:latin typeface="voestalpine Light" panose="020B0300030000000000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3601" y="244800"/>
            <a:ext cx="1684033" cy="10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9400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345176"/>
              </p:ext>
            </p:ext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7290" y="208097"/>
            <a:ext cx="8611373" cy="1057020"/>
          </a:xfrm>
          <a:prstGeom prst="rect">
            <a:avLst/>
          </a:prstGeom>
        </p:spPr>
        <p:txBody>
          <a:bodyPr vert="horz"/>
          <a:lstStyle>
            <a:lvl1pPr>
              <a:defRPr lang="en-US" noProof="0" dirty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5043" y="1739953"/>
            <a:ext cx="8611373" cy="29760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264600" indent="-264600">
              <a:defRPr>
                <a:solidFill>
                  <a:schemeClr val="tx1"/>
                </a:solidFill>
              </a:defRPr>
            </a:lvl2pPr>
            <a:lvl3pPr marL="477900" indent="-213300">
              <a:defRPr>
                <a:solidFill>
                  <a:schemeClr val="tx1"/>
                </a:solidFill>
              </a:defRPr>
            </a:lvl3pPr>
            <a:lvl4pPr marL="677700">
              <a:defRPr>
                <a:solidFill>
                  <a:schemeClr val="tx1"/>
                </a:solidFill>
              </a:defRPr>
            </a:lvl4pPr>
            <a:lvl5pPr marL="677700" indent="-1998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23852" y="6340855"/>
            <a:ext cx="21431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4492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6850" y="292101"/>
            <a:ext cx="8648550" cy="9525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266851" y="1699686"/>
            <a:ext cx="4187511" cy="2976033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643438" y="1699685"/>
            <a:ext cx="4266000" cy="2976033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23852" y="6340855"/>
            <a:ext cx="21431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7252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495310"/>
            <a:ext cx="8496300" cy="6200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7" y="6275393"/>
            <a:ext cx="285749" cy="3650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1489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23854" y="6277332"/>
            <a:ext cx="431159" cy="365125"/>
          </a:xfrm>
          <a:prstGeom prst="rect">
            <a:avLst/>
          </a:prstGeom>
        </p:spPr>
        <p:txBody>
          <a:bodyPr/>
          <a:lstStyle/>
          <a:p>
            <a:fld id="{E679AE4A-8E52-4BFB-848F-4B5AC9CB8DA6}" type="slidenum">
              <a:rPr lang="en-US" altLang="de-DE" smtClean="0"/>
              <a:pPr/>
              <a:t>‹#›</a:t>
            </a:fld>
            <a:endParaRPr lang="en-US" alt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730800" y="6278220"/>
            <a:ext cx="793200" cy="365125"/>
          </a:xfrm>
          <a:prstGeom prst="rect">
            <a:avLst/>
          </a:prstGeom>
        </p:spPr>
        <p:txBody>
          <a:bodyPr/>
          <a:lstStyle/>
          <a:p>
            <a:r>
              <a:rPr lang="sv-SE" altLang="de-DE"/>
              <a:t>Mai, 2021</a:t>
            </a:r>
            <a:endParaRPr lang="en-US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1738800" y="6279348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de-DE" altLang="de-DE"/>
              <a:t>Beiz- und  Reinigungschemikalien aus Malmö</a:t>
            </a:r>
            <a:endParaRPr lang="en-US" alt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43"/>
            <a:ext cx="9143998" cy="685791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87891" y="43"/>
            <a:ext cx="5656109" cy="68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813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</a:rPr>
              <a:t>              </a:t>
            </a:r>
          </a:p>
        </p:txBody>
      </p:sp>
      <p:pic>
        <p:nvPicPr>
          <p:cNvPr id="4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</a:rPr>
              <a:t>              |      Company     |      Presentation Title      I      Date        </a:t>
            </a:r>
          </a:p>
        </p:txBody>
      </p:sp>
      <p:pic>
        <p:nvPicPr>
          <p:cNvPr id="6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F766651-D845-414B-B3EB-FE54B88E3A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45968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495310"/>
            <a:ext cx="8496300" cy="6200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701276"/>
            <a:ext cx="8496300" cy="38384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2"/>
          </p:nvPr>
        </p:nvSpPr>
        <p:spPr>
          <a:xfrm>
            <a:off x="543825" y="6275392"/>
            <a:ext cx="656326" cy="364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sv-SE"/>
              <a:t>Mai, 2021</a:t>
            </a:r>
            <a:endParaRPr lang="en-US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3326" y="6274646"/>
            <a:ext cx="4464045" cy="3650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de-DE"/>
              <a:t>Beiz- und  Reinigungschemikalien aus Malmö</a:t>
            </a:r>
            <a:endParaRPr lang="en-US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7" y="6275393"/>
            <a:ext cx="285749" cy="3650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55782"/>
            <a:ext cx="9144000" cy="7413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150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495310"/>
            <a:ext cx="8496300" cy="6200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23850" y="1701276"/>
            <a:ext cx="8496300" cy="38384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7" y="6275393"/>
            <a:ext cx="285749" cy="3650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8055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495310"/>
            <a:ext cx="8496300" cy="6200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23850" y="1701276"/>
            <a:ext cx="8496300" cy="38384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7" y="6275393"/>
            <a:ext cx="285749" cy="3650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5280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1">
    <p:bg>
      <p:bgPr>
        <a:solidFill>
          <a:srgbClr val="1D31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3">
            <a:extLst>
              <a:ext uri="{FF2B5EF4-FFF2-40B4-BE49-F238E27FC236}">
                <a16:creationId xmlns:a16="http://schemas.microsoft.com/office/drawing/2014/main" id="{81222CD6-1271-00A2-22AA-609191CA24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2" y="448139"/>
            <a:ext cx="2113135" cy="126087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4F66BFBE-8C07-0275-8CD8-C8C21FD896A4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55591" y="2071354"/>
            <a:ext cx="5897564" cy="1767599"/>
          </a:xfrm>
        </p:spPr>
        <p:txBody>
          <a:bodyPr tIns="46798" bIns="46798">
            <a:noAutofit/>
          </a:bodyPr>
          <a:lstStyle>
            <a:lvl1pPr>
              <a:defRPr lang="de-DE" sz="32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2E32A0E4-D132-2F54-D4A1-61B5DEDFEF25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55591" y="4018952"/>
            <a:ext cx="5897564" cy="1712634"/>
          </a:xfrm>
        </p:spPr>
        <p:txBody>
          <a:bodyPr tIns="46798" bIns="46798"/>
          <a:lstStyle>
            <a:lvl1pPr marL="0" indent="0">
              <a:buNone/>
              <a:defRPr lang="de-DE"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Formatvorlage des Untertitelmasters durch Klicken bearbeiten</a:t>
            </a:r>
            <a:endParaRPr lang="de-AT"/>
          </a:p>
        </p:txBody>
      </p:sp>
      <p:sp>
        <p:nvSpPr>
          <p:cNvPr id="5" name="Textfeld 11">
            <a:extLst>
              <a:ext uri="{FF2B5EF4-FFF2-40B4-BE49-F238E27FC236}">
                <a16:creationId xmlns:a16="http://schemas.microsoft.com/office/drawing/2014/main" id="{A0B592B2-3C1E-8606-8DB4-BDF0B399F841}"/>
              </a:ext>
            </a:extLst>
          </p:cNvPr>
          <p:cNvSpPr txBox="1"/>
          <p:nvPr/>
        </p:nvSpPr>
        <p:spPr>
          <a:xfrm>
            <a:off x="256118" y="6103355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1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voestalpine Böhler Welding</a:t>
            </a:r>
          </a:p>
        </p:txBody>
      </p:sp>
      <p:sp>
        <p:nvSpPr>
          <p:cNvPr id="6" name="Textfeld 6">
            <a:extLst>
              <a:ext uri="{FF2B5EF4-FFF2-40B4-BE49-F238E27FC236}">
                <a16:creationId xmlns:a16="http://schemas.microsoft.com/office/drawing/2014/main" id="{10AD9619-25A6-C9D9-9FF1-55BCB734D35D}"/>
              </a:ext>
            </a:extLst>
          </p:cNvPr>
          <p:cNvSpPr txBox="1"/>
          <p:nvPr/>
        </p:nvSpPr>
        <p:spPr>
          <a:xfrm>
            <a:off x="256118" y="6327072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www.voestalpine.com/welding</a:t>
            </a:r>
          </a:p>
        </p:txBody>
      </p: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A700ED39-725F-5284-D91D-7F3BCBDFA673}"/>
              </a:ext>
            </a:extLst>
          </p:cNvPr>
          <p:cNvCxnSpPr/>
          <p:nvPr/>
        </p:nvCxnSpPr>
        <p:spPr>
          <a:xfrm>
            <a:off x="255989" y="3784116"/>
            <a:ext cx="5897159" cy="0"/>
          </a:xfrm>
          <a:prstGeom prst="straightConnector1">
            <a:avLst/>
          </a:prstGeom>
          <a:noFill/>
          <a:ln w="31747" cap="flat">
            <a:solidFill>
              <a:srgbClr val="FFFFFF"/>
            </a:solidFill>
            <a:prstDash val="solid"/>
            <a:miter/>
          </a:ln>
        </p:spPr>
      </p:cxnSp>
    </p:spTree>
    <p:extLst>
      <p:ext uri="{BB962C8B-B14F-4D97-AF65-F5344CB8AC3E}">
        <p14:creationId xmlns:p14="http://schemas.microsoft.com/office/powerpoint/2010/main" val="19750887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 1">
    <p:bg>
      <p:bgPr>
        <a:solidFill>
          <a:srgbClr val="1D31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reibenm\Desktop\Marke\Markenphase VIIII\Markenprozess\Corporate Design\Erste Umsetzungen\Vorlagen neu\1. Gecheckt von IT\v_S_PP_2\v_S_PP_2.png">
            <a:extLst>
              <a:ext uri="{FF2B5EF4-FFF2-40B4-BE49-F238E27FC236}">
                <a16:creationId xmlns:a16="http://schemas.microsoft.com/office/drawing/2014/main" id="{AEF4CDB9-C143-34D5-30F9-47B19506E0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46565" y="3496729"/>
            <a:ext cx="9236073" cy="336127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1A326151-C2E2-9219-CFED-F61E8D174F51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55584" y="2071354"/>
            <a:ext cx="5363086" cy="1767599"/>
          </a:xfrm>
        </p:spPr>
        <p:txBody>
          <a:bodyPr tIns="46798" bIns="46798">
            <a:noAutofit/>
          </a:bodyPr>
          <a:lstStyle>
            <a:lvl1pPr>
              <a:defRPr lang="de-DE" sz="32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D92F80CD-4C28-E343-0AE5-2F109C6195C0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55591" y="4018952"/>
            <a:ext cx="6373811" cy="1712634"/>
          </a:xfrm>
        </p:spPr>
        <p:txBody>
          <a:bodyPr tIns="46798" bIns="46798"/>
          <a:lstStyle>
            <a:lvl1pPr marL="0" indent="0">
              <a:buNone/>
              <a:defRPr lang="de-DE"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Formatvorlage des Untertitelmasters durch Klicken bearbeiten</a:t>
            </a:r>
            <a:endParaRPr lang="de-AT"/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C9C30982-344A-A597-A5FA-8FC2B445860E}"/>
              </a:ext>
            </a:extLst>
          </p:cNvPr>
          <p:cNvCxnSpPr/>
          <p:nvPr/>
        </p:nvCxnSpPr>
        <p:spPr>
          <a:xfrm>
            <a:off x="255989" y="3784116"/>
            <a:ext cx="5897159" cy="0"/>
          </a:xfrm>
          <a:prstGeom prst="straightConnector1">
            <a:avLst/>
          </a:prstGeom>
          <a:noFill/>
          <a:ln w="31747" cap="flat">
            <a:solidFill>
              <a:srgbClr val="FFFFFF"/>
            </a:solidFill>
            <a:prstDash val="solid"/>
            <a:miter/>
          </a:ln>
        </p:spPr>
      </p:cxnSp>
      <p:sp>
        <p:nvSpPr>
          <p:cNvPr id="6" name="Textfeld 11">
            <a:extLst>
              <a:ext uri="{FF2B5EF4-FFF2-40B4-BE49-F238E27FC236}">
                <a16:creationId xmlns:a16="http://schemas.microsoft.com/office/drawing/2014/main" id="{F697D251-C0F8-0E43-B2B1-C6E808AD2B93}"/>
              </a:ext>
            </a:extLst>
          </p:cNvPr>
          <p:cNvSpPr txBox="1"/>
          <p:nvPr/>
        </p:nvSpPr>
        <p:spPr>
          <a:xfrm>
            <a:off x="256118" y="6103355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1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voestalpine Böhler Weldi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6669FF7-BE10-A3D3-E659-8A1D2D3C1E3A}"/>
              </a:ext>
            </a:extLst>
          </p:cNvPr>
          <p:cNvSpPr txBox="1"/>
          <p:nvPr/>
        </p:nvSpPr>
        <p:spPr>
          <a:xfrm>
            <a:off x="256118" y="6327072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www.voestalpine.com/welding</a:t>
            </a: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DEE7D5A3-B508-CDC3-8A9B-B8DDF37D18CA}"/>
              </a:ext>
            </a:extLst>
          </p:cNvPr>
          <p:cNvSpPr/>
          <p:nvPr/>
        </p:nvSpPr>
        <p:spPr>
          <a:xfrm>
            <a:off x="4419597" y="3225803"/>
            <a:ext cx="304796" cy="40639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37" tIns="45722" rIns="91437" bIns="45722" anchor="t" anchorCtr="0" compatLnSpc="1">
            <a:no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voestalpine"/>
            </a:endParaRPr>
          </a:p>
        </p:txBody>
      </p:sp>
    </p:spTree>
    <p:extLst>
      <p:ext uri="{BB962C8B-B14F-4D97-AF65-F5344CB8AC3E}">
        <p14:creationId xmlns:p14="http://schemas.microsoft.com/office/powerpoint/2010/main" val="26195185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elfolie 1">
    <p:bg>
      <p:bgPr>
        <a:solidFill>
          <a:srgbClr val="1D31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reibenm\Desktop\Marke\Markenphase VIIII\Markenprozess\Corporate Design\Erste Umsetzungen\Vorlagen neu\1. Gecheckt von IT\v_S_PP_2\v_S_PP_2.png">
            <a:extLst>
              <a:ext uri="{FF2B5EF4-FFF2-40B4-BE49-F238E27FC236}">
                <a16:creationId xmlns:a16="http://schemas.microsoft.com/office/drawing/2014/main" id="{8444071D-CA96-6EC6-CF1C-C2B810B2D0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46565" y="3496729"/>
            <a:ext cx="9236073" cy="336127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4DF9CB47-53DF-5FBC-508D-036243C11E32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55583" y="2071354"/>
            <a:ext cx="7450311" cy="1767599"/>
          </a:xfrm>
        </p:spPr>
        <p:txBody>
          <a:bodyPr tIns="46798" bIns="46798">
            <a:noAutofit/>
          </a:bodyPr>
          <a:lstStyle>
            <a:lvl1pPr>
              <a:defRPr lang="de-DE" sz="32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6F2B1D9C-9113-726A-A2F5-A32448F68B5E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55591" y="4018952"/>
            <a:ext cx="6373811" cy="1712634"/>
          </a:xfrm>
        </p:spPr>
        <p:txBody>
          <a:bodyPr tIns="46798" bIns="46798"/>
          <a:lstStyle>
            <a:lvl1pPr marL="0" indent="0">
              <a:buNone/>
              <a:defRPr lang="de-DE"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Formatvorlage des Untertitelmasters durch Klicken bearbeiten</a:t>
            </a:r>
            <a:endParaRPr lang="de-AT"/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C3B40598-EBE7-0278-036F-0E7783D9634A}"/>
              </a:ext>
            </a:extLst>
          </p:cNvPr>
          <p:cNvCxnSpPr/>
          <p:nvPr/>
        </p:nvCxnSpPr>
        <p:spPr>
          <a:xfrm>
            <a:off x="255989" y="3784116"/>
            <a:ext cx="5897159" cy="0"/>
          </a:xfrm>
          <a:prstGeom prst="straightConnector1">
            <a:avLst/>
          </a:prstGeom>
          <a:noFill/>
          <a:ln w="31747" cap="flat">
            <a:solidFill>
              <a:srgbClr val="FFFFFF"/>
            </a:solidFill>
            <a:prstDash val="solid"/>
            <a:miter/>
          </a:ln>
        </p:spPr>
      </p:cxnSp>
      <p:sp>
        <p:nvSpPr>
          <p:cNvPr id="6" name="Textfeld 11">
            <a:extLst>
              <a:ext uri="{FF2B5EF4-FFF2-40B4-BE49-F238E27FC236}">
                <a16:creationId xmlns:a16="http://schemas.microsoft.com/office/drawing/2014/main" id="{9AB59469-D7CB-4CA0-F45E-4A13A3BBCE5B}"/>
              </a:ext>
            </a:extLst>
          </p:cNvPr>
          <p:cNvSpPr txBox="1"/>
          <p:nvPr/>
        </p:nvSpPr>
        <p:spPr>
          <a:xfrm>
            <a:off x="256118" y="6103355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1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voestalpine Böhler Weldi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4EED591-F5F3-BA11-A43B-CE89457E80CC}"/>
              </a:ext>
            </a:extLst>
          </p:cNvPr>
          <p:cNvSpPr txBox="1"/>
          <p:nvPr/>
        </p:nvSpPr>
        <p:spPr>
          <a:xfrm>
            <a:off x="256118" y="6327072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www.voestalpine.com/welding</a:t>
            </a:r>
          </a:p>
        </p:txBody>
      </p:sp>
    </p:spTree>
    <p:extLst>
      <p:ext uri="{BB962C8B-B14F-4D97-AF65-F5344CB8AC3E}">
        <p14:creationId xmlns:p14="http://schemas.microsoft.com/office/powerpoint/2010/main" val="15214913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folie 1">
    <p:bg>
      <p:bgPr>
        <a:solidFill>
          <a:srgbClr val="1D31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reibenm\Desktop\Marke\Markenphase VIIII\Markenprozess\Corporate Design\Erste Umsetzungen\Vorlagen neu\1. Gecheckt von IT\v_S_PP_2\v_S_PP_2.png">
            <a:extLst>
              <a:ext uri="{FF2B5EF4-FFF2-40B4-BE49-F238E27FC236}">
                <a16:creationId xmlns:a16="http://schemas.microsoft.com/office/drawing/2014/main" id="{53ABD50E-9F6D-B592-5D02-D2703EA3E9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46565" y="3496729"/>
            <a:ext cx="9236073" cy="336127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7EDE4806-2B18-31CB-177E-1B4BBCE93D64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55583" y="2071354"/>
            <a:ext cx="7450311" cy="1767599"/>
          </a:xfrm>
        </p:spPr>
        <p:txBody>
          <a:bodyPr tIns="46798" bIns="46798">
            <a:noAutofit/>
          </a:bodyPr>
          <a:lstStyle>
            <a:lvl1pPr>
              <a:defRPr lang="de-DE" sz="32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C89EA6B0-9D22-462F-29EA-77D7285ABB11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55591" y="4018952"/>
            <a:ext cx="6373811" cy="1712634"/>
          </a:xfrm>
        </p:spPr>
        <p:txBody>
          <a:bodyPr tIns="46798" bIns="46798"/>
          <a:lstStyle>
            <a:lvl1pPr marL="0" indent="0">
              <a:buNone/>
              <a:defRPr lang="de-DE"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Formatvorlage des Untertitelmasters durch Klicken bearbeiten</a:t>
            </a:r>
            <a:endParaRPr lang="de-AT"/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956AF3F8-8074-3664-09E9-7A327959040B}"/>
              </a:ext>
            </a:extLst>
          </p:cNvPr>
          <p:cNvCxnSpPr/>
          <p:nvPr/>
        </p:nvCxnSpPr>
        <p:spPr>
          <a:xfrm>
            <a:off x="255989" y="3784116"/>
            <a:ext cx="5897159" cy="0"/>
          </a:xfrm>
          <a:prstGeom prst="straightConnector1">
            <a:avLst/>
          </a:prstGeom>
          <a:noFill/>
          <a:ln w="31747" cap="flat">
            <a:solidFill>
              <a:srgbClr val="FFFFFF"/>
            </a:solidFill>
            <a:prstDash val="solid"/>
            <a:miter/>
          </a:ln>
        </p:spPr>
      </p:cxnSp>
      <p:sp>
        <p:nvSpPr>
          <p:cNvPr id="6" name="Textfeld 11">
            <a:extLst>
              <a:ext uri="{FF2B5EF4-FFF2-40B4-BE49-F238E27FC236}">
                <a16:creationId xmlns:a16="http://schemas.microsoft.com/office/drawing/2014/main" id="{5C015F7A-5652-BFF5-635A-938B6C303CD0}"/>
              </a:ext>
            </a:extLst>
          </p:cNvPr>
          <p:cNvSpPr txBox="1"/>
          <p:nvPr/>
        </p:nvSpPr>
        <p:spPr>
          <a:xfrm>
            <a:off x="256118" y="6103355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1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voestalpine Böhler Weldi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F9AD2FE-8D11-1ED6-0AF6-62117F0BF8B6}"/>
              </a:ext>
            </a:extLst>
          </p:cNvPr>
          <p:cNvSpPr txBox="1"/>
          <p:nvPr/>
        </p:nvSpPr>
        <p:spPr>
          <a:xfrm>
            <a:off x="256118" y="6327072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www.voestalpine.com/welding</a:t>
            </a:r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071B83E9-03FC-4F2B-5623-0F8360143D4C}"/>
              </a:ext>
            </a:extLst>
          </p:cNvPr>
          <p:cNvSpPr/>
          <p:nvPr/>
        </p:nvSpPr>
        <p:spPr>
          <a:xfrm>
            <a:off x="4419597" y="3225803"/>
            <a:ext cx="304796" cy="40639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37" tIns="45722" rIns="91437" bIns="45722" anchor="t" anchorCtr="0" compatLnSpc="1">
            <a:no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voestalpine"/>
            </a:endParaRPr>
          </a:p>
        </p:txBody>
      </p:sp>
    </p:spTree>
    <p:extLst>
      <p:ext uri="{BB962C8B-B14F-4D97-AF65-F5344CB8AC3E}">
        <p14:creationId xmlns:p14="http://schemas.microsoft.com/office/powerpoint/2010/main" val="25160669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elfolie 1">
    <p:bg>
      <p:bgPr>
        <a:solidFill>
          <a:srgbClr val="1D31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reibenm\Desktop\Marke\Markenphase VIIII\Markenprozess\Corporate Design\Erste Umsetzungen\Vorlagen neu\1. Gecheckt von IT\v_S_PP_2\v_S_PP_2.png">
            <a:extLst>
              <a:ext uri="{FF2B5EF4-FFF2-40B4-BE49-F238E27FC236}">
                <a16:creationId xmlns:a16="http://schemas.microsoft.com/office/drawing/2014/main" id="{8D08DA58-1FD8-3456-88D0-413BA37242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46565" y="3496729"/>
            <a:ext cx="9236073" cy="336127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A74E88A6-1004-E6E9-F351-DB039811914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255583" y="2071354"/>
            <a:ext cx="7450311" cy="1767599"/>
          </a:xfrm>
        </p:spPr>
        <p:txBody>
          <a:bodyPr tIns="46798" bIns="46798">
            <a:noAutofit/>
          </a:bodyPr>
          <a:lstStyle>
            <a:lvl1pPr>
              <a:defRPr lang="de-DE" sz="320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Product portfolio</a:t>
            </a:r>
            <a:endParaRPr lang="de-AT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2FB7A7CF-E297-D421-2EFA-FD6BC80A4EE8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255591" y="4018952"/>
            <a:ext cx="6373811" cy="1712634"/>
          </a:xfrm>
        </p:spPr>
        <p:txBody>
          <a:bodyPr tIns="46798" bIns="46798"/>
          <a:lstStyle>
            <a:lvl1pPr marL="0" indent="0">
              <a:buNone/>
              <a:defRPr lang="de-DE" sz="2000">
                <a:solidFill>
                  <a:srgbClr val="FFFFFF"/>
                </a:solidFill>
              </a:defRPr>
            </a:lvl1pPr>
            <a:lvl2pPr marL="0" lvl="0" indent="0">
              <a:buNone/>
              <a:tabLst/>
              <a:defRPr lang="de-DE" sz="2000">
                <a:solidFill>
                  <a:srgbClr val="FFFFFF"/>
                </a:solidFill>
              </a:defRPr>
            </a:lvl2pPr>
          </a:lstStyle>
          <a:p>
            <a:pPr lvl="0"/>
            <a:r>
              <a:rPr lang="de-DE"/>
              <a:t>Product benefits and sales arguments</a:t>
            </a:r>
          </a:p>
          <a:p>
            <a:pPr lvl="0"/>
            <a:r>
              <a:rPr lang="de-DE"/>
              <a:t>2023-06-14 André Fasth</a:t>
            </a:r>
            <a:endParaRPr lang="de-AT"/>
          </a:p>
        </p:txBody>
      </p:sp>
      <p:cxnSp>
        <p:nvCxnSpPr>
          <p:cNvPr id="5" name="Gerade Verbindung 8">
            <a:extLst>
              <a:ext uri="{FF2B5EF4-FFF2-40B4-BE49-F238E27FC236}">
                <a16:creationId xmlns:a16="http://schemas.microsoft.com/office/drawing/2014/main" id="{F169A893-9BA3-FC06-E939-CB6DB5A4B2DE}"/>
              </a:ext>
            </a:extLst>
          </p:cNvPr>
          <p:cNvCxnSpPr/>
          <p:nvPr/>
        </p:nvCxnSpPr>
        <p:spPr>
          <a:xfrm>
            <a:off x="255989" y="3784116"/>
            <a:ext cx="5897159" cy="0"/>
          </a:xfrm>
          <a:prstGeom prst="straightConnector1">
            <a:avLst/>
          </a:prstGeom>
          <a:noFill/>
          <a:ln w="31747" cap="flat">
            <a:solidFill>
              <a:srgbClr val="FFFFFF"/>
            </a:solidFill>
            <a:prstDash val="solid"/>
            <a:miter/>
          </a:ln>
        </p:spPr>
      </p:cxnSp>
      <p:sp>
        <p:nvSpPr>
          <p:cNvPr id="6" name="Textfeld 11">
            <a:extLst>
              <a:ext uri="{FF2B5EF4-FFF2-40B4-BE49-F238E27FC236}">
                <a16:creationId xmlns:a16="http://schemas.microsoft.com/office/drawing/2014/main" id="{91467DF9-D754-14F6-8EAC-08286C499585}"/>
              </a:ext>
            </a:extLst>
          </p:cNvPr>
          <p:cNvSpPr txBox="1"/>
          <p:nvPr/>
        </p:nvSpPr>
        <p:spPr>
          <a:xfrm>
            <a:off x="256118" y="6103355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1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voestalpine Böhler Welding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DE7AAA3-C1AF-E91B-86F4-0D461F5E1B44}"/>
              </a:ext>
            </a:extLst>
          </p:cNvPr>
          <p:cNvSpPr txBox="1"/>
          <p:nvPr/>
        </p:nvSpPr>
        <p:spPr>
          <a:xfrm>
            <a:off x="256118" y="6327072"/>
            <a:ext cx="5782734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www.voestalpine.com/welding</a:t>
            </a:r>
          </a:p>
        </p:txBody>
      </p:sp>
    </p:spTree>
    <p:extLst>
      <p:ext uri="{BB962C8B-B14F-4D97-AF65-F5344CB8AC3E}">
        <p14:creationId xmlns:p14="http://schemas.microsoft.com/office/powerpoint/2010/main" val="341689811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6">
            <a:extLst>
              <a:ext uri="{FF2B5EF4-FFF2-40B4-BE49-F238E27FC236}">
                <a16:creationId xmlns:a16="http://schemas.microsoft.com/office/drawing/2014/main" id="{6A6E0784-41ED-B09D-4C81-3776A1F1C370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3" name="Textfeld 17">
            <a:extLst>
              <a:ext uri="{FF2B5EF4-FFF2-40B4-BE49-F238E27FC236}">
                <a16:creationId xmlns:a16="http://schemas.microsoft.com/office/drawing/2014/main" id="{069E3BC2-8BD8-F59E-0689-847B8FEF6B62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Datumsplatzhalter 2">
            <a:extLst>
              <a:ext uri="{FF2B5EF4-FFF2-40B4-BE49-F238E27FC236}">
                <a16:creationId xmlns:a16="http://schemas.microsoft.com/office/drawing/2014/main" id="{EA47ECFB-6482-410F-E264-EBE8877D9B2B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D0B9355-CF3D-4E48-B61C-EA1D7B2ED20D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DD51F357-90BE-F77F-A9A2-75356EA4186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7EEF6D24-DEDA-940E-63B8-69E47D94959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A461DA5-709D-4553-BB63-B96794E0E9E2}" type="slidenum"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258617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9">
            <a:extLst>
              <a:ext uri="{FF2B5EF4-FFF2-40B4-BE49-F238E27FC236}">
                <a16:creationId xmlns:a16="http://schemas.microsoft.com/office/drawing/2014/main" id="{10254B1C-0C23-79B2-A284-1B48A5AFD9F2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7268ADD7-EC66-3446-7B20-E4924D0D2E8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2031CF3-08B2-4CED-90F7-3EF50C4D8452}" type="slidenum">
              <a:t>‹#›</a:t>
            </a:fld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E80F76-230A-7131-3DAC-0405DA67C0D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084D752-82BD-418C-AA4A-775D50F2947E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234FD7-F32E-9E14-7CE6-3B18735F4E2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135461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Tite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90"/>
          <a:stretch>
            <a:fillRect/>
          </a:stretch>
        </p:blipFill>
        <p:spPr bwMode="auto">
          <a:xfrm>
            <a:off x="0" y="1412875"/>
            <a:ext cx="9144000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5" name="Rectangle 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265488" y="2786063"/>
            <a:ext cx="5699125" cy="76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noProof="0"/>
              <a:t>Klicka här för att ändra format</a:t>
            </a:r>
            <a:endParaRPr lang="en-US" noProof="0"/>
          </a:p>
        </p:txBody>
      </p:sp>
      <p:sp>
        <p:nvSpPr>
          <p:cNvPr id="5125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732338"/>
            <a:ext cx="4392613" cy="641350"/>
          </a:xfrm>
        </p:spPr>
        <p:txBody>
          <a:bodyPr anchor="b"/>
          <a:lstStyle>
            <a:lvl1pPr marL="0" indent="0"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noProof="0"/>
              <a:t>Klicka här för att ändra format på underrubrik i bakgrunden</a:t>
            </a:r>
            <a:endParaRPr lang="en-US" noProof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A82E47F-BAD1-4297-9B4B-A7047FA9D0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491665"/>
      </p:ext>
    </p:extLst>
  </p:cSld>
  <p:clrMapOvr>
    <a:masterClrMapping/>
  </p:clrMapOvr>
  <p:transition>
    <p:fade/>
  </p:transition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0">
            <a:extLst>
              <a:ext uri="{FF2B5EF4-FFF2-40B4-BE49-F238E27FC236}">
                <a16:creationId xmlns:a16="http://schemas.microsoft.com/office/drawing/2014/main" id="{9FAF99B0-DC58-AFDE-BC15-EACD4637BC27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3" name="Textfeld 11">
            <a:extLst>
              <a:ext uri="{FF2B5EF4-FFF2-40B4-BE49-F238E27FC236}">
                <a16:creationId xmlns:a16="http://schemas.microsoft.com/office/drawing/2014/main" id="{A59BD863-822C-B455-349C-76727864ADBC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cxnSp>
        <p:nvCxnSpPr>
          <p:cNvPr id="4" name="Gerade Verbindung 9">
            <a:extLst>
              <a:ext uri="{FF2B5EF4-FFF2-40B4-BE49-F238E27FC236}">
                <a16:creationId xmlns:a16="http://schemas.microsoft.com/office/drawing/2014/main" id="{C99E25F5-0D73-E013-15E2-6E410FE71ED5}"/>
              </a:ext>
            </a:extLst>
          </p:cNvPr>
          <p:cNvCxnSpPr/>
          <p:nvPr/>
        </p:nvCxnSpPr>
        <p:spPr>
          <a:xfrm>
            <a:off x="255590" y="1411111"/>
            <a:ext cx="6049956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pic>
        <p:nvPicPr>
          <p:cNvPr id="5" name="Grafik 3">
            <a:extLst>
              <a:ext uri="{FF2B5EF4-FFF2-40B4-BE49-F238E27FC236}">
                <a16:creationId xmlns:a16="http://schemas.microsoft.com/office/drawing/2014/main" id="{2EA1DCBD-1C11-7BDB-0400-22F08A5007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7" y="220251"/>
            <a:ext cx="2064902" cy="12328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Datumsplatzhalter 4">
            <a:extLst>
              <a:ext uri="{FF2B5EF4-FFF2-40B4-BE49-F238E27FC236}">
                <a16:creationId xmlns:a16="http://schemas.microsoft.com/office/drawing/2014/main" id="{FA8ED19F-E62D-9410-9F1B-2C024B0C7A6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949CBE5-EFF0-45AC-BAB5-933451C3166E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F8DA86AE-7C79-4A12-80C0-416F619E3C8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  <p:sp>
        <p:nvSpPr>
          <p:cNvPr id="8" name="Foliennummernplatzhalter 6">
            <a:extLst>
              <a:ext uri="{FF2B5EF4-FFF2-40B4-BE49-F238E27FC236}">
                <a16:creationId xmlns:a16="http://schemas.microsoft.com/office/drawing/2014/main" id="{EFCEC47C-CAE1-4CD4-A301-E30EC97E3F0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6A41BC1-48D9-4480-9DA1-7E8C1E797DD2}" type="slidenum"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445191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großes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8">
            <a:extLst>
              <a:ext uri="{FF2B5EF4-FFF2-40B4-BE49-F238E27FC236}">
                <a16:creationId xmlns:a16="http://schemas.microsoft.com/office/drawing/2014/main" id="{2CFCBFC2-6942-0D60-9B97-DF4E9B8CFE5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643435" y="1699687"/>
            <a:ext cx="4248146" cy="4059771"/>
          </a:xfrm>
        </p:spPr>
        <p:txBody>
          <a:bodyPr/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de-DE"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3" name="Textfeld 10">
            <a:extLst>
              <a:ext uri="{FF2B5EF4-FFF2-40B4-BE49-F238E27FC236}">
                <a16:creationId xmlns:a16="http://schemas.microsoft.com/office/drawing/2014/main" id="{3216BAAF-20BA-4D75-1AF9-307763C6D09E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2">
            <a:extLst>
              <a:ext uri="{FF2B5EF4-FFF2-40B4-BE49-F238E27FC236}">
                <a16:creationId xmlns:a16="http://schemas.microsoft.com/office/drawing/2014/main" id="{E320C582-7478-1CC2-6E81-B8870A2DD2DC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cxnSp>
        <p:nvCxnSpPr>
          <p:cNvPr id="5" name="Gerade Verbindung 9">
            <a:extLst>
              <a:ext uri="{FF2B5EF4-FFF2-40B4-BE49-F238E27FC236}">
                <a16:creationId xmlns:a16="http://schemas.microsoft.com/office/drawing/2014/main" id="{1EA0FD40-0ADC-D55E-29D2-8CAFD80137B7}"/>
              </a:ext>
            </a:extLst>
          </p:cNvPr>
          <p:cNvCxnSpPr/>
          <p:nvPr/>
        </p:nvCxnSpPr>
        <p:spPr>
          <a:xfrm>
            <a:off x="255590" y="1411111"/>
            <a:ext cx="6049956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pic>
        <p:nvPicPr>
          <p:cNvPr id="6" name="Grafik 17">
            <a:extLst>
              <a:ext uri="{FF2B5EF4-FFF2-40B4-BE49-F238E27FC236}">
                <a16:creationId xmlns:a16="http://schemas.microsoft.com/office/drawing/2014/main" id="{6B81B9DF-6693-9B89-1368-3A63671CAA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7" y="220251"/>
            <a:ext cx="2064902" cy="12328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1EF0D8DD-F0B7-FADC-DCF9-B10CB6D6054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F5A8F7A-A207-42F6-B6C8-811DAEAB93BA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ACD4FEB5-7F34-DD9E-328F-31D9D7AD29E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  <p:sp>
        <p:nvSpPr>
          <p:cNvPr id="9" name="Foliennummernplatzhalter 4">
            <a:extLst>
              <a:ext uri="{FF2B5EF4-FFF2-40B4-BE49-F238E27FC236}">
                <a16:creationId xmlns:a16="http://schemas.microsoft.com/office/drawing/2014/main" id="{885BA188-1247-D457-440A-49E9A205E8A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621902F-9308-472F-A1AB-52D526E773A4}" type="slidenum"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84115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2 große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6">
            <a:extLst>
              <a:ext uri="{FF2B5EF4-FFF2-40B4-BE49-F238E27FC236}">
                <a16:creationId xmlns:a16="http://schemas.microsoft.com/office/drawing/2014/main" id="{41F31E83-B616-CC73-43F2-2A90D92F7747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416704" y="1699687"/>
            <a:ext cx="2016122" cy="4059771"/>
          </a:xfrm>
        </p:spPr>
        <p:txBody>
          <a:bodyPr/>
          <a:lstStyle>
            <a:lvl1pPr marL="0" indent="0">
              <a:buNone/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F6E613A0-E45E-7D2E-28E0-0E6BCFC01ED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643435" y="1699687"/>
            <a:ext cx="4176714" cy="4059771"/>
          </a:xfrm>
        </p:spPr>
        <p:txBody>
          <a:bodyPr/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Textfeld 11">
            <a:extLst>
              <a:ext uri="{FF2B5EF4-FFF2-40B4-BE49-F238E27FC236}">
                <a16:creationId xmlns:a16="http://schemas.microsoft.com/office/drawing/2014/main" id="{064DA0AD-9F16-F49E-DABE-C66E8B909188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Textfeld 14">
            <a:extLst>
              <a:ext uri="{FF2B5EF4-FFF2-40B4-BE49-F238E27FC236}">
                <a16:creationId xmlns:a16="http://schemas.microsoft.com/office/drawing/2014/main" id="{8F648D7D-B8D5-694A-701C-A975A449B488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585020-546C-62A2-6CEA-9E2E2CCF972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100F4CF-95F7-4693-848E-51DEE31A070D}" type="slidenum">
              <a:t>‹#›</a:t>
            </a:fld>
            <a:endParaRPr lang="de-AT"/>
          </a:p>
        </p:txBody>
      </p:sp>
      <p:cxnSp>
        <p:nvCxnSpPr>
          <p:cNvPr id="7" name="Gerade Verbindung 9">
            <a:extLst>
              <a:ext uri="{FF2B5EF4-FFF2-40B4-BE49-F238E27FC236}">
                <a16:creationId xmlns:a16="http://schemas.microsoft.com/office/drawing/2014/main" id="{470C3FD3-6351-E0BE-D29B-6BD00BABB13B}"/>
              </a:ext>
            </a:extLst>
          </p:cNvPr>
          <p:cNvCxnSpPr/>
          <p:nvPr/>
        </p:nvCxnSpPr>
        <p:spPr>
          <a:xfrm>
            <a:off x="255590" y="1411111"/>
            <a:ext cx="6049956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pic>
        <p:nvPicPr>
          <p:cNvPr id="8" name="Grafik 18">
            <a:extLst>
              <a:ext uri="{FF2B5EF4-FFF2-40B4-BE49-F238E27FC236}">
                <a16:creationId xmlns:a16="http://schemas.microsoft.com/office/drawing/2014/main" id="{B009127B-6A34-03F5-FCD7-996D37DD97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7" y="220251"/>
            <a:ext cx="2064902" cy="12328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58BF7A8A-4E99-9E58-A154-2B2B62213C1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2E1CFF6-75AC-45CB-BE38-1BDF167A8FC5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26F22339-3062-F6F0-8B19-4EC031772CD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57618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4 kleine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6">
            <a:extLst>
              <a:ext uri="{FF2B5EF4-FFF2-40B4-BE49-F238E27FC236}">
                <a16:creationId xmlns:a16="http://schemas.microsoft.com/office/drawing/2014/main" id="{1C5B96D6-BA4A-56DC-BBA8-606844037E85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416704" y="1699686"/>
            <a:ext cx="2016122" cy="1447796"/>
          </a:xfrm>
        </p:spPr>
        <p:txBody>
          <a:bodyPr/>
          <a:lstStyle>
            <a:lvl1pPr marL="0" indent="0">
              <a:buNone/>
              <a:defRPr lang="de-DE" sz="1800"/>
            </a:lvl1pPr>
          </a:lstStyle>
          <a:p>
            <a:pPr lvl="0"/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3" name="Bildplatzhalter 6">
            <a:extLst>
              <a:ext uri="{FF2B5EF4-FFF2-40B4-BE49-F238E27FC236}">
                <a16:creationId xmlns:a16="http://schemas.microsoft.com/office/drawing/2014/main" id="{84A3B2D0-90C2-FA7F-A891-3336B3113D6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55158" y="3253316"/>
            <a:ext cx="2016122" cy="1447796"/>
          </a:xfrm>
        </p:spPr>
        <p:txBody>
          <a:bodyPr/>
          <a:lstStyle>
            <a:lvl1pPr marL="0" indent="0">
              <a:buNone/>
              <a:defRPr lang="de-DE" sz="1800"/>
            </a:lvl1pPr>
          </a:lstStyle>
          <a:p>
            <a:pPr lvl="0"/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4" name="Bildplatzhalter 6">
            <a:extLst>
              <a:ext uri="{FF2B5EF4-FFF2-40B4-BE49-F238E27FC236}">
                <a16:creationId xmlns:a16="http://schemas.microsoft.com/office/drawing/2014/main" id="{C5E27FD4-A959-950A-6077-54635C098AF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416704" y="3264325"/>
            <a:ext cx="2016122" cy="1447796"/>
          </a:xfrm>
        </p:spPr>
        <p:txBody>
          <a:bodyPr/>
          <a:lstStyle>
            <a:lvl1pPr marL="0" indent="0">
              <a:buNone/>
              <a:defRPr lang="de-DE" sz="1800"/>
            </a:lvl1pPr>
          </a:lstStyle>
          <a:p>
            <a:pPr lvl="0"/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id="{0206D481-0358-022E-BCFE-FE3CD516167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643435" y="1699687"/>
            <a:ext cx="4248146" cy="4059771"/>
          </a:xfrm>
        </p:spPr>
        <p:txBody>
          <a:bodyPr/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Textfeld 17">
            <a:extLst>
              <a:ext uri="{FF2B5EF4-FFF2-40B4-BE49-F238E27FC236}">
                <a16:creationId xmlns:a16="http://schemas.microsoft.com/office/drawing/2014/main" id="{A6304A14-6534-14FF-3CFE-9E7A41EBA293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7" name="Textfeld 18">
            <a:extLst>
              <a:ext uri="{FF2B5EF4-FFF2-40B4-BE49-F238E27FC236}">
                <a16:creationId xmlns:a16="http://schemas.microsoft.com/office/drawing/2014/main" id="{76B73E0D-6CAF-C408-6D99-9B6FE012779B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E5A95202-FBE8-1482-290D-46816031D99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F452D1F-7D48-4E90-B6F7-B84073B537CC}" type="slidenum">
              <a:t>‹#›</a:t>
            </a:fld>
            <a:endParaRPr lang="de-AT"/>
          </a:p>
        </p:txBody>
      </p:sp>
      <p:cxnSp>
        <p:nvCxnSpPr>
          <p:cNvPr id="9" name="Gerade Verbindung 9">
            <a:extLst>
              <a:ext uri="{FF2B5EF4-FFF2-40B4-BE49-F238E27FC236}">
                <a16:creationId xmlns:a16="http://schemas.microsoft.com/office/drawing/2014/main" id="{306B4557-14A0-65AE-39F2-0B627DA1ABBD}"/>
              </a:ext>
            </a:extLst>
          </p:cNvPr>
          <p:cNvCxnSpPr/>
          <p:nvPr/>
        </p:nvCxnSpPr>
        <p:spPr>
          <a:xfrm>
            <a:off x="255590" y="1411111"/>
            <a:ext cx="6049956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pic>
        <p:nvPicPr>
          <p:cNvPr id="10" name="Grafik 22">
            <a:extLst>
              <a:ext uri="{FF2B5EF4-FFF2-40B4-BE49-F238E27FC236}">
                <a16:creationId xmlns:a16="http://schemas.microsoft.com/office/drawing/2014/main" id="{13D88650-0109-6468-B6B3-A9E8B1BD9A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7" y="220251"/>
            <a:ext cx="2064902" cy="12328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8E6FB312-4EC2-8DCA-9EF5-D20C3292B6B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9DC7585-66B0-4B91-A5FA-5CF44637D668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E8D4BF80-CE31-8EA0-4053-110EEF7C313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37509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2 kleine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8">
            <a:extLst>
              <a:ext uri="{FF2B5EF4-FFF2-40B4-BE49-F238E27FC236}">
                <a16:creationId xmlns:a16="http://schemas.microsoft.com/office/drawing/2014/main" id="{C95878FD-89E9-90F2-3170-6617741CFD8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84440" y="1699687"/>
            <a:ext cx="6407148" cy="4059771"/>
          </a:xfrm>
        </p:spPr>
        <p:txBody>
          <a:bodyPr/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" name="Bildplatzhalter 6">
            <a:extLst>
              <a:ext uri="{FF2B5EF4-FFF2-40B4-BE49-F238E27FC236}">
                <a16:creationId xmlns:a16="http://schemas.microsoft.com/office/drawing/2014/main" id="{FDC1D741-CC9B-AEAB-2B48-5BC3DF5BCBBC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255158" y="3253316"/>
            <a:ext cx="2016122" cy="1447796"/>
          </a:xfrm>
        </p:spPr>
        <p:txBody>
          <a:bodyPr/>
          <a:lstStyle>
            <a:lvl1pPr marL="0" indent="0">
              <a:buNone/>
              <a:defRPr lang="de-DE" sz="1800"/>
            </a:lvl1pPr>
          </a:lstStyle>
          <a:p>
            <a:pPr lvl="0"/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4" name="Textfeld 11">
            <a:extLst>
              <a:ext uri="{FF2B5EF4-FFF2-40B4-BE49-F238E27FC236}">
                <a16:creationId xmlns:a16="http://schemas.microsoft.com/office/drawing/2014/main" id="{86E38D25-EDC5-7451-3154-D0B51D91C5B8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Textfeld 13">
            <a:extLst>
              <a:ext uri="{FF2B5EF4-FFF2-40B4-BE49-F238E27FC236}">
                <a16:creationId xmlns:a16="http://schemas.microsoft.com/office/drawing/2014/main" id="{6344B8B4-6EA8-A0C0-0E7A-BC762EBF6C13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EA67BA2-7BDD-98C9-04F0-068593E5091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ED98724-6437-4595-8D1C-6743383EFF74}" type="slidenum">
              <a:t>‹#›</a:t>
            </a:fld>
            <a:endParaRPr lang="de-AT"/>
          </a:p>
        </p:txBody>
      </p:sp>
      <p:cxnSp>
        <p:nvCxnSpPr>
          <p:cNvPr id="7" name="Gerade Verbindung 9">
            <a:extLst>
              <a:ext uri="{FF2B5EF4-FFF2-40B4-BE49-F238E27FC236}">
                <a16:creationId xmlns:a16="http://schemas.microsoft.com/office/drawing/2014/main" id="{A9C6E70A-73CA-FD11-94AD-243212B7F4D5}"/>
              </a:ext>
            </a:extLst>
          </p:cNvPr>
          <p:cNvCxnSpPr/>
          <p:nvPr/>
        </p:nvCxnSpPr>
        <p:spPr>
          <a:xfrm>
            <a:off x="255590" y="1411111"/>
            <a:ext cx="6049956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pic>
        <p:nvPicPr>
          <p:cNvPr id="8" name="Grafik 19">
            <a:extLst>
              <a:ext uri="{FF2B5EF4-FFF2-40B4-BE49-F238E27FC236}">
                <a16:creationId xmlns:a16="http://schemas.microsoft.com/office/drawing/2014/main" id="{8CAE02CA-E891-6B81-6212-E96919A993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7" y="220251"/>
            <a:ext cx="2064902" cy="12328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6E2F4ECD-A1C6-256F-0E32-DB7F1216BA79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7A180BD-2607-48FD-9E56-F63C48982CBE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AF003E02-D248-55DF-16DD-99A8698942B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9990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3">
            <a:extLst>
              <a:ext uri="{FF2B5EF4-FFF2-40B4-BE49-F238E27FC236}">
                <a16:creationId xmlns:a16="http://schemas.microsoft.com/office/drawing/2014/main" id="{B1C6980A-840E-6591-6C3B-ACCF5EA5421B}"/>
              </a:ext>
            </a:extLst>
          </p:cNvPr>
          <p:cNvSpPr txBox="1">
            <a:spLocks noGrp="1"/>
          </p:cNvSpPr>
          <p:nvPr>
            <p:ph type="chart" idx="4294967295"/>
          </p:nvPr>
        </p:nvSpPr>
        <p:spPr>
          <a:xfrm>
            <a:off x="253472" y="1699687"/>
            <a:ext cx="5967413" cy="4059771"/>
          </a:xfrm>
        </p:spPr>
        <p:txBody>
          <a:bodyPr/>
          <a:lstStyle>
            <a:lvl1pPr marL="0" indent="0">
              <a:buNone/>
              <a:defRPr lang="de-DE"/>
            </a:lvl1pPr>
          </a:lstStyle>
          <a:p>
            <a:pPr lvl="0"/>
            <a:r>
              <a:rPr lang="de-DE"/>
              <a:t>Diagramm durch Klicken auf Symbol hinzufügen</a:t>
            </a:r>
            <a:endParaRPr lang="de-AT"/>
          </a:p>
        </p:txBody>
      </p:sp>
      <p:sp>
        <p:nvSpPr>
          <p:cNvPr id="3" name="Textfeld 10">
            <a:extLst>
              <a:ext uri="{FF2B5EF4-FFF2-40B4-BE49-F238E27FC236}">
                <a16:creationId xmlns:a16="http://schemas.microsoft.com/office/drawing/2014/main" id="{9EFF802C-3A7D-E6E2-DB92-2D8DE0BDD300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2">
            <a:extLst>
              <a:ext uri="{FF2B5EF4-FFF2-40B4-BE49-F238E27FC236}">
                <a16:creationId xmlns:a16="http://schemas.microsoft.com/office/drawing/2014/main" id="{09F289DD-BB1D-EE55-A8E7-DE1692CFA560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50F54950-6D1D-E444-1CE8-A667DBCE503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E835ECE-BEC7-40DA-B0CF-8BD0DFB7B4F7}" type="slidenum">
              <a:t>‹#›</a:t>
            </a:fld>
            <a:endParaRPr lang="de-AT"/>
          </a:p>
        </p:txBody>
      </p:sp>
      <p:cxnSp>
        <p:nvCxnSpPr>
          <p:cNvPr id="6" name="Gerade Verbindung 9">
            <a:extLst>
              <a:ext uri="{FF2B5EF4-FFF2-40B4-BE49-F238E27FC236}">
                <a16:creationId xmlns:a16="http://schemas.microsoft.com/office/drawing/2014/main" id="{9FFB27F0-DC61-9B8C-4D82-091642CCE22B}"/>
              </a:ext>
            </a:extLst>
          </p:cNvPr>
          <p:cNvCxnSpPr/>
          <p:nvPr/>
        </p:nvCxnSpPr>
        <p:spPr>
          <a:xfrm>
            <a:off x="255590" y="1411111"/>
            <a:ext cx="6049956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pic>
        <p:nvPicPr>
          <p:cNvPr id="7" name="Grafik 17">
            <a:extLst>
              <a:ext uri="{FF2B5EF4-FFF2-40B4-BE49-F238E27FC236}">
                <a16:creationId xmlns:a16="http://schemas.microsoft.com/office/drawing/2014/main" id="{F0AEFD1F-3C05-0142-D536-AF5601B1EC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7" y="220251"/>
            <a:ext cx="2064902" cy="12328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F99D9197-9F96-74B4-F479-4D1B661D79D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1301C70-CECD-488A-8ECB-66B515CCAA13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20353E3F-AA4B-E469-3C34-D989822218E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947272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8">
            <a:extLst>
              <a:ext uri="{FF2B5EF4-FFF2-40B4-BE49-F238E27FC236}">
                <a16:creationId xmlns:a16="http://schemas.microsoft.com/office/drawing/2014/main" id="{602CE82B-018C-02C6-EB5B-413B45BEBAB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469378" y="1699687"/>
            <a:ext cx="2422211" cy="4059771"/>
          </a:xfrm>
        </p:spPr>
        <p:txBody>
          <a:bodyPr/>
          <a:lstStyle>
            <a:lvl1pPr marL="179995" indent="-179995">
              <a:defRPr lang="de-DE"/>
            </a:lvl1pPr>
            <a:lvl2pPr marL="179995" indent="-179995">
              <a:defRPr lang="de-DE"/>
            </a:lvl2pPr>
            <a:lvl3pPr marL="359990" indent="-179995">
              <a:tabLst>
                <a:tab pos="719979" algn="l"/>
              </a:tabLst>
              <a:defRPr lang="de-DE"/>
            </a:lvl3pPr>
            <a:lvl4pPr marL="539985" indent="-179995">
              <a:defRPr lang="de-DE"/>
            </a:lvl4pPr>
            <a:lvl5pPr marL="719980" indent="-179995">
              <a:defRPr lang="de-DE" sz="1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3" name="Textfeld 10">
            <a:extLst>
              <a:ext uri="{FF2B5EF4-FFF2-40B4-BE49-F238E27FC236}">
                <a16:creationId xmlns:a16="http://schemas.microsoft.com/office/drawing/2014/main" id="{4D3C7F17-CD5D-1BDA-67E8-B658AE1E311B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2">
            <a:extLst>
              <a:ext uri="{FF2B5EF4-FFF2-40B4-BE49-F238E27FC236}">
                <a16:creationId xmlns:a16="http://schemas.microsoft.com/office/drawing/2014/main" id="{9114C949-46A7-B0E5-4A71-AE24E7C8F069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C159AC4-9D49-D3F5-1C18-9E7D171388E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D2ED193-FC5D-41FE-BA44-56D53075AD42}" type="slidenum">
              <a:t>‹#›</a:t>
            </a:fld>
            <a:endParaRPr lang="de-AT"/>
          </a:p>
        </p:txBody>
      </p:sp>
      <p:cxnSp>
        <p:nvCxnSpPr>
          <p:cNvPr id="6" name="Gerade Verbindung 9">
            <a:extLst>
              <a:ext uri="{FF2B5EF4-FFF2-40B4-BE49-F238E27FC236}">
                <a16:creationId xmlns:a16="http://schemas.microsoft.com/office/drawing/2014/main" id="{920B6F0A-2C0E-4038-2477-0D3E0F2C7F77}"/>
              </a:ext>
            </a:extLst>
          </p:cNvPr>
          <p:cNvCxnSpPr/>
          <p:nvPr/>
        </p:nvCxnSpPr>
        <p:spPr>
          <a:xfrm>
            <a:off x="255590" y="1411111"/>
            <a:ext cx="6049956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pic>
        <p:nvPicPr>
          <p:cNvPr id="7" name="Grafik 17">
            <a:extLst>
              <a:ext uri="{FF2B5EF4-FFF2-40B4-BE49-F238E27FC236}">
                <a16:creationId xmlns:a16="http://schemas.microsoft.com/office/drawing/2014/main" id="{E5B2E954-4A75-3A7F-2596-3E98987077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7" y="220251"/>
            <a:ext cx="2064902" cy="12328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C2E91193-AD64-5A30-E1A4-9FD760F0695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F0932D5-6861-43F2-95ED-7D861EF9CE9A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15B6B7C-1434-BB40-A96D-B2A0615F7FA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540645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8">
            <a:extLst>
              <a:ext uri="{FF2B5EF4-FFF2-40B4-BE49-F238E27FC236}">
                <a16:creationId xmlns:a16="http://schemas.microsoft.com/office/drawing/2014/main" id="{F61A468D-496F-A66A-F2CC-10DB4DBAD29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469378" y="1699687"/>
            <a:ext cx="2422211" cy="4059771"/>
          </a:xfrm>
        </p:spPr>
        <p:txBody>
          <a:bodyPr/>
          <a:lstStyle>
            <a:lvl1pPr marL="179995" indent="-179995">
              <a:defRPr lang="de-DE"/>
            </a:lvl1pPr>
            <a:lvl2pPr marL="179995" indent="-179995">
              <a:defRPr lang="de-DE"/>
            </a:lvl2pPr>
            <a:lvl3pPr marL="359990" indent="-179995">
              <a:tabLst>
                <a:tab pos="719979" algn="l"/>
              </a:tabLst>
              <a:defRPr lang="de-DE"/>
            </a:lvl3pPr>
            <a:lvl4pPr marL="539985" indent="-179995">
              <a:defRPr lang="de-DE"/>
            </a:lvl4pPr>
            <a:lvl5pPr marL="719980" indent="-179995">
              <a:defRPr lang="de-DE" sz="1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3" name="Textfeld 10">
            <a:extLst>
              <a:ext uri="{FF2B5EF4-FFF2-40B4-BE49-F238E27FC236}">
                <a16:creationId xmlns:a16="http://schemas.microsoft.com/office/drawing/2014/main" id="{58BBC3A7-EA4C-F985-9E6F-F39EED0345FE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2">
            <a:extLst>
              <a:ext uri="{FF2B5EF4-FFF2-40B4-BE49-F238E27FC236}">
                <a16:creationId xmlns:a16="http://schemas.microsoft.com/office/drawing/2014/main" id="{E3E303B1-DD4B-4C6B-AA46-5A054E16C438}"/>
              </a:ext>
            </a:extLst>
          </p:cNvPr>
          <p:cNvSpPr txBox="1"/>
          <p:nvPr/>
        </p:nvSpPr>
        <p:spPr>
          <a:xfrm>
            <a:off x="1795130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cxnSp>
        <p:nvCxnSpPr>
          <p:cNvPr id="5" name="Gerade Verbindung 9">
            <a:extLst>
              <a:ext uri="{FF2B5EF4-FFF2-40B4-BE49-F238E27FC236}">
                <a16:creationId xmlns:a16="http://schemas.microsoft.com/office/drawing/2014/main" id="{CE395C6C-B248-10E8-DDFC-354EBE9331A9}"/>
              </a:ext>
            </a:extLst>
          </p:cNvPr>
          <p:cNvCxnSpPr/>
          <p:nvPr/>
        </p:nvCxnSpPr>
        <p:spPr>
          <a:xfrm>
            <a:off x="255590" y="1411111"/>
            <a:ext cx="6049956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pic>
        <p:nvPicPr>
          <p:cNvPr id="6" name="Grafik 17">
            <a:extLst>
              <a:ext uri="{FF2B5EF4-FFF2-40B4-BE49-F238E27FC236}">
                <a16:creationId xmlns:a16="http://schemas.microsoft.com/office/drawing/2014/main" id="{686B7085-00D7-7853-BEFE-9D8617BF6E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687" y="220251"/>
            <a:ext cx="2064902" cy="123289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9F453EE7-3546-4B71-1EA1-BABFB21E62B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7969449-5EFF-41ED-A61F-50382426313B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D343D02-DD94-F79A-06CF-7174791B4BA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DE5EB4A1-7274-0915-CF91-F48CA9D261A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B24180F-E315-4BFE-86D2-71223EE5D4B0}" type="slidenum"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78066244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W_Böhler Welding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D3782850-D2DC-5427-6440-3830241540B3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84" y="2388294"/>
            <a:ext cx="8639173" cy="3371155"/>
          </a:xfrm>
        </p:spPr>
        <p:txBody>
          <a:bodyPr/>
          <a:lstStyle>
            <a:lvl1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defRPr lang="de-DE"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extfeld 9">
            <a:extLst>
              <a:ext uri="{FF2B5EF4-FFF2-40B4-BE49-F238E27FC236}">
                <a16:creationId xmlns:a16="http://schemas.microsoft.com/office/drawing/2014/main" id="{9F06906A-BFBB-2098-256D-A1911FA6EB22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FFFFFF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1">
            <a:extLst>
              <a:ext uri="{FF2B5EF4-FFF2-40B4-BE49-F238E27FC236}">
                <a16:creationId xmlns:a16="http://schemas.microsoft.com/office/drawing/2014/main" id="{FA100CEE-55C8-0BC8-893D-F8A1FE5A51C7}"/>
              </a:ext>
            </a:extLst>
          </p:cNvPr>
          <p:cNvSpPr txBox="1"/>
          <p:nvPr/>
        </p:nvSpPr>
        <p:spPr>
          <a:xfrm>
            <a:off x="1804655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FFFFFF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547238E8-9F2B-D542-A782-4B27E577A8F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 lang="en-US">
                <a:solidFill>
                  <a:srgbClr val="FFFFFF"/>
                </a:solidFill>
              </a:defRPr>
            </a:lvl1pPr>
          </a:lstStyle>
          <a:p>
            <a:pPr lvl="0"/>
            <a:fld id="{F38E7D39-FC15-4B6C-AFDF-C78E58231CBA}" type="slidenum">
              <a:t>‹#›</a:t>
            </a:fld>
            <a:endParaRPr lang="en-US"/>
          </a:p>
        </p:txBody>
      </p:sp>
      <p:pic>
        <p:nvPicPr>
          <p:cNvPr id="6" name="Grafik 4">
            <a:extLst>
              <a:ext uri="{FF2B5EF4-FFF2-40B4-BE49-F238E27FC236}">
                <a16:creationId xmlns:a16="http://schemas.microsoft.com/office/drawing/2014/main" id="{D239A302-EC4A-0030-B1CD-7775090D0E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262" y="129690"/>
            <a:ext cx="2210840" cy="131917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89DF3A7F-C6CA-19DF-D158-B99C4634453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4F3CCD5C-493B-445E-9B72-A347848E63C9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0BDC89FC-DB4A-6453-721F-1D67671A5DF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endParaRPr lang="de-AT"/>
          </a:p>
        </p:txBody>
      </p:sp>
      <p:cxnSp>
        <p:nvCxnSpPr>
          <p:cNvPr id="9" name="Gerade Verbindung 9">
            <a:extLst>
              <a:ext uri="{FF2B5EF4-FFF2-40B4-BE49-F238E27FC236}">
                <a16:creationId xmlns:a16="http://schemas.microsoft.com/office/drawing/2014/main" id="{F267B7F0-6C37-7771-C787-C2BFEEE73D18}"/>
              </a:ext>
            </a:extLst>
          </p:cNvPr>
          <p:cNvCxnSpPr/>
          <p:nvPr/>
        </p:nvCxnSpPr>
        <p:spPr>
          <a:xfrm>
            <a:off x="255590" y="2266367"/>
            <a:ext cx="6049956" cy="0"/>
          </a:xfrm>
          <a:prstGeom prst="straightConnector1">
            <a:avLst/>
          </a:prstGeom>
          <a:noFill/>
          <a:ln w="19046" cap="flat">
            <a:solidFill>
              <a:srgbClr val="FFFFFF"/>
            </a:solidFill>
            <a:prstDash val="solid"/>
            <a:miter/>
          </a:ln>
        </p:spPr>
      </p:cxnSp>
    </p:spTree>
    <p:extLst>
      <p:ext uri="{BB962C8B-B14F-4D97-AF65-F5344CB8AC3E}">
        <p14:creationId xmlns:p14="http://schemas.microsoft.com/office/powerpoint/2010/main" val="1901154619"/>
      </p:ext>
    </p:extLst>
  </p:cSld>
  <p:clrMapOvr>
    <a:masterClrMapping/>
  </p:clrMapOvr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W_weldCar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10E89CBE-AE08-AE06-0378-AE703D0F4D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84" y="2388294"/>
            <a:ext cx="8639173" cy="3371155"/>
          </a:xfrm>
        </p:spPr>
        <p:txBody>
          <a:bodyPr/>
          <a:lstStyle>
            <a:lvl1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defRPr lang="de-DE"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extfeld 9">
            <a:extLst>
              <a:ext uri="{FF2B5EF4-FFF2-40B4-BE49-F238E27FC236}">
                <a16:creationId xmlns:a16="http://schemas.microsoft.com/office/drawing/2014/main" id="{5B2940E5-4C96-2A08-54CD-4CA2578508C5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FFFFFF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1">
            <a:extLst>
              <a:ext uri="{FF2B5EF4-FFF2-40B4-BE49-F238E27FC236}">
                <a16:creationId xmlns:a16="http://schemas.microsoft.com/office/drawing/2014/main" id="{9BC1D321-E39F-1144-6451-2CDC725C90A1}"/>
              </a:ext>
            </a:extLst>
          </p:cNvPr>
          <p:cNvSpPr txBox="1"/>
          <p:nvPr/>
        </p:nvSpPr>
        <p:spPr>
          <a:xfrm>
            <a:off x="1804655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FFFFFF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BE34E28C-0861-266D-9A5D-84D936CD8D3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 lang="en-US">
                <a:solidFill>
                  <a:srgbClr val="FFFFFF"/>
                </a:solidFill>
              </a:defRPr>
            </a:lvl1pPr>
          </a:lstStyle>
          <a:p>
            <a:pPr lvl="0"/>
            <a:fld id="{FD90938F-029D-4776-9929-75B51EB6EBE7}" type="slidenum">
              <a:t>‹#›</a:t>
            </a:fld>
            <a:endParaRPr lang="en-US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D78A0CC0-9A0D-D3CB-D604-9A6E72F62F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3" y="129342"/>
            <a:ext cx="2234158" cy="139990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A936CEA7-84F5-13F2-F89C-E92C6217BE7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F9564E2E-1E1F-4D76-BF98-445C885138AF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5DD9CE1-ABF2-9DCC-D6A1-680464F817E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endParaRPr lang="de-AT"/>
          </a:p>
        </p:txBody>
      </p:sp>
      <p:cxnSp>
        <p:nvCxnSpPr>
          <p:cNvPr id="9" name="Gerade Verbindung 9">
            <a:extLst>
              <a:ext uri="{FF2B5EF4-FFF2-40B4-BE49-F238E27FC236}">
                <a16:creationId xmlns:a16="http://schemas.microsoft.com/office/drawing/2014/main" id="{A1210E73-9C6E-5C15-583A-4AC61A6200A7}"/>
              </a:ext>
            </a:extLst>
          </p:cNvPr>
          <p:cNvCxnSpPr/>
          <p:nvPr/>
        </p:nvCxnSpPr>
        <p:spPr>
          <a:xfrm>
            <a:off x="255590" y="2266367"/>
            <a:ext cx="6049956" cy="0"/>
          </a:xfrm>
          <a:prstGeom prst="straightConnector1">
            <a:avLst/>
          </a:prstGeom>
          <a:noFill/>
          <a:ln w="19046" cap="flat">
            <a:solidFill>
              <a:srgbClr val="FFFFFF"/>
            </a:solidFill>
            <a:prstDash val="solid"/>
            <a:miter/>
          </a:ln>
        </p:spPr>
      </p:cxnSp>
    </p:spTree>
    <p:extLst>
      <p:ext uri="{BB962C8B-B14F-4D97-AF65-F5344CB8AC3E}">
        <p14:creationId xmlns:p14="http://schemas.microsoft.com/office/powerpoint/2010/main" val="886369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6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 dirty="0">
                <a:solidFill>
                  <a:srgbClr val="292929"/>
                </a:solidFill>
                <a:latin typeface="Arial" pitchFamily="34" charset="0"/>
              </a:rPr>
              <a:t>              |      </a:t>
            </a:r>
            <a:r>
              <a:rPr lang="en-US" sz="800" dirty="0" err="1">
                <a:solidFill>
                  <a:srgbClr val="292929"/>
                </a:solidFill>
                <a:latin typeface="Arial" pitchFamily="34" charset="0"/>
              </a:rPr>
              <a:t>Böhler</a:t>
            </a:r>
            <a:r>
              <a:rPr lang="en-US" sz="800" dirty="0">
                <a:solidFill>
                  <a:srgbClr val="292929"/>
                </a:solidFill>
                <a:latin typeface="Arial" pitchFamily="34" charset="0"/>
              </a:rPr>
              <a:t> Welding Group Nordic     |     AFC Overview Pickling &amp; Passivation      April 2013</a:t>
            </a:r>
          </a:p>
        </p:txBody>
      </p:sp>
      <p:pic>
        <p:nvPicPr>
          <p:cNvPr id="8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8F6E7E6-2F30-4CA3-AFDB-B2E24100D5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Platshållare för innehåll 10"/>
          <p:cNvSpPr>
            <a:spLocks noGrp="1"/>
          </p:cNvSpPr>
          <p:nvPr>
            <p:ph sz="quarter" idx="11"/>
          </p:nvPr>
        </p:nvSpPr>
        <p:spPr>
          <a:xfrm>
            <a:off x="1116013" y="6659563"/>
            <a:ext cx="914400" cy="9144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311648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W_automatio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D3833EAE-3F09-86F7-4615-40046B0DEBCA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84" y="2388294"/>
            <a:ext cx="8639173" cy="3371155"/>
          </a:xfrm>
        </p:spPr>
        <p:txBody>
          <a:bodyPr/>
          <a:lstStyle>
            <a:lvl1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defRPr lang="de-DE"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extfeld 9">
            <a:extLst>
              <a:ext uri="{FF2B5EF4-FFF2-40B4-BE49-F238E27FC236}">
                <a16:creationId xmlns:a16="http://schemas.microsoft.com/office/drawing/2014/main" id="{B5D701E9-B27F-74F9-8C1A-F51FA719920F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FFFFFF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1">
            <a:extLst>
              <a:ext uri="{FF2B5EF4-FFF2-40B4-BE49-F238E27FC236}">
                <a16:creationId xmlns:a16="http://schemas.microsoft.com/office/drawing/2014/main" id="{3347C60D-C5E5-C95B-87B1-22F7BEDF1BC8}"/>
              </a:ext>
            </a:extLst>
          </p:cNvPr>
          <p:cNvSpPr txBox="1"/>
          <p:nvPr/>
        </p:nvSpPr>
        <p:spPr>
          <a:xfrm>
            <a:off x="1804655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FFFFFF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0D10CC8C-E2C8-B380-29AF-C170FBC6DCB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 lang="en-US">
                <a:solidFill>
                  <a:srgbClr val="FFFFFF"/>
                </a:solidFill>
              </a:defRPr>
            </a:lvl1pPr>
          </a:lstStyle>
          <a:p>
            <a:pPr lvl="0"/>
            <a:fld id="{34B2A5F2-2234-4430-831F-442120E2EFC1}" type="slidenum">
              <a:t>‹#›</a:t>
            </a:fld>
            <a:endParaRPr lang="en-US"/>
          </a:p>
        </p:txBody>
      </p:sp>
      <p:pic>
        <p:nvPicPr>
          <p:cNvPr id="6" name="Grafik 14">
            <a:extLst>
              <a:ext uri="{FF2B5EF4-FFF2-40B4-BE49-F238E27FC236}">
                <a16:creationId xmlns:a16="http://schemas.microsoft.com/office/drawing/2014/main" id="{B7F107A0-8211-FBD5-07E0-4CFA5FF929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3" y="134884"/>
            <a:ext cx="2234158" cy="137549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A620A073-9AB5-0208-64E1-6FB38592107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D042BA95-706C-4A06-BF66-74F41281F4A1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2ADA583-A354-B9EC-6624-F5BEB8EF2D5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endParaRPr lang="de-AT"/>
          </a:p>
        </p:txBody>
      </p:sp>
      <p:cxnSp>
        <p:nvCxnSpPr>
          <p:cNvPr id="9" name="Gerade Verbindung 9">
            <a:extLst>
              <a:ext uri="{FF2B5EF4-FFF2-40B4-BE49-F238E27FC236}">
                <a16:creationId xmlns:a16="http://schemas.microsoft.com/office/drawing/2014/main" id="{EE598D4F-D2E1-DC10-5072-7A89F79DB916}"/>
              </a:ext>
            </a:extLst>
          </p:cNvPr>
          <p:cNvCxnSpPr/>
          <p:nvPr/>
        </p:nvCxnSpPr>
        <p:spPr>
          <a:xfrm>
            <a:off x="255590" y="2266367"/>
            <a:ext cx="6049956" cy="0"/>
          </a:xfrm>
          <a:prstGeom prst="straightConnector1">
            <a:avLst/>
          </a:prstGeom>
          <a:noFill/>
          <a:ln w="19046" cap="flat">
            <a:solidFill>
              <a:srgbClr val="FFFFFF"/>
            </a:solidFill>
            <a:prstDash val="solid"/>
            <a:miter/>
          </a:ln>
        </p:spPr>
      </p:cxnSp>
    </p:spTree>
    <p:extLst>
      <p:ext uri="{BB962C8B-B14F-4D97-AF65-F5344CB8AC3E}">
        <p14:creationId xmlns:p14="http://schemas.microsoft.com/office/powerpoint/2010/main" val="157571563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W_3Dpri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54D9EAFF-F176-1C3A-9240-E09093A72B39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84" y="2388294"/>
            <a:ext cx="8639173" cy="3371155"/>
          </a:xfrm>
        </p:spPr>
        <p:txBody>
          <a:bodyPr/>
          <a:lstStyle>
            <a:lvl1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defRPr lang="de-DE"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defRPr lang="de-DE" sz="11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extfeld 9">
            <a:extLst>
              <a:ext uri="{FF2B5EF4-FFF2-40B4-BE49-F238E27FC236}">
                <a16:creationId xmlns:a16="http://schemas.microsoft.com/office/drawing/2014/main" id="{702DE476-1C4C-2D09-4E53-5D65C05DD94B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FFFFFF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1">
            <a:extLst>
              <a:ext uri="{FF2B5EF4-FFF2-40B4-BE49-F238E27FC236}">
                <a16:creationId xmlns:a16="http://schemas.microsoft.com/office/drawing/2014/main" id="{48BDFC9A-6775-B56E-74B8-A965CE4674CA}"/>
              </a:ext>
            </a:extLst>
          </p:cNvPr>
          <p:cNvSpPr txBox="1"/>
          <p:nvPr/>
        </p:nvSpPr>
        <p:spPr>
          <a:xfrm>
            <a:off x="1804655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FFFFFF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D249E35-3C4B-FCC4-2B99-708D5C101E2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 lang="en-US">
                <a:solidFill>
                  <a:srgbClr val="FFFFFF"/>
                </a:solidFill>
              </a:defRPr>
            </a:lvl1pPr>
          </a:lstStyle>
          <a:p>
            <a:pPr lvl="0"/>
            <a:fld id="{901F263D-AE30-4042-A91B-59E80AD9A2FD}" type="slidenum">
              <a:t>‹#›</a:t>
            </a:fld>
            <a:endParaRPr lang="en-US"/>
          </a:p>
        </p:txBody>
      </p:sp>
      <p:pic>
        <p:nvPicPr>
          <p:cNvPr id="6" name="Grafik 14">
            <a:extLst>
              <a:ext uri="{FF2B5EF4-FFF2-40B4-BE49-F238E27FC236}">
                <a16:creationId xmlns:a16="http://schemas.microsoft.com/office/drawing/2014/main" id="{00E5267C-5AAA-D1AA-2CA3-543830504A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50" y="145555"/>
            <a:ext cx="2214064" cy="139878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FCF3E429-9A88-61F3-FD1A-58625B89FBB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858F6CFA-4E57-4EDA-9FBE-A182BCE8B9CF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EDBDE405-F8AD-5657-A96D-11AB5B5FD63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endParaRPr lang="de-AT"/>
          </a:p>
        </p:txBody>
      </p:sp>
      <p:cxnSp>
        <p:nvCxnSpPr>
          <p:cNvPr id="9" name="Gerade Verbindung 9">
            <a:extLst>
              <a:ext uri="{FF2B5EF4-FFF2-40B4-BE49-F238E27FC236}">
                <a16:creationId xmlns:a16="http://schemas.microsoft.com/office/drawing/2014/main" id="{A550CDAF-48D2-67F7-3005-022F02E3C8F4}"/>
              </a:ext>
            </a:extLst>
          </p:cNvPr>
          <p:cNvCxnSpPr/>
          <p:nvPr/>
        </p:nvCxnSpPr>
        <p:spPr>
          <a:xfrm>
            <a:off x="255590" y="2266367"/>
            <a:ext cx="6049956" cy="0"/>
          </a:xfrm>
          <a:prstGeom prst="straightConnector1">
            <a:avLst/>
          </a:prstGeom>
          <a:noFill/>
          <a:ln w="19046" cap="flat">
            <a:solidFill>
              <a:srgbClr val="FFFFFF"/>
            </a:solidFill>
            <a:prstDash val="solid"/>
            <a:miter/>
          </a:ln>
        </p:spPr>
      </p:cxnSp>
    </p:spTree>
    <p:extLst>
      <p:ext uri="{BB962C8B-B14F-4D97-AF65-F5344CB8AC3E}">
        <p14:creationId xmlns:p14="http://schemas.microsoft.com/office/powerpoint/2010/main" val="22706178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Clos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 Verbindung 20">
            <a:extLst>
              <a:ext uri="{FF2B5EF4-FFF2-40B4-BE49-F238E27FC236}">
                <a16:creationId xmlns:a16="http://schemas.microsoft.com/office/drawing/2014/main" id="{F2C7760E-7C86-7258-B390-FF20F48C3198}"/>
              </a:ext>
            </a:extLst>
          </p:cNvPr>
          <p:cNvCxnSpPr/>
          <p:nvPr/>
        </p:nvCxnSpPr>
        <p:spPr>
          <a:xfrm>
            <a:off x="255591" y="3508022"/>
            <a:ext cx="8635999" cy="0"/>
          </a:xfrm>
          <a:prstGeom prst="straightConnector1">
            <a:avLst/>
          </a:prstGeom>
          <a:noFill/>
          <a:ln w="31747" cap="flat">
            <a:solidFill>
              <a:srgbClr val="1D314E"/>
            </a:solidFill>
            <a:prstDash val="solid"/>
            <a:miter/>
          </a:ln>
        </p:spPr>
      </p:cxnSp>
      <p:sp>
        <p:nvSpPr>
          <p:cNvPr id="3" name="Textfeld 9">
            <a:extLst>
              <a:ext uri="{FF2B5EF4-FFF2-40B4-BE49-F238E27FC236}">
                <a16:creationId xmlns:a16="http://schemas.microsoft.com/office/drawing/2014/main" id="{A0D47985-08C3-CB85-843D-BA98EEAC9D3F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1">
            <a:extLst>
              <a:ext uri="{FF2B5EF4-FFF2-40B4-BE49-F238E27FC236}">
                <a16:creationId xmlns:a16="http://schemas.microsoft.com/office/drawing/2014/main" id="{762F3CCF-47FA-DCC1-4BB6-5C396A2487E3}"/>
              </a:ext>
            </a:extLst>
          </p:cNvPr>
          <p:cNvSpPr txBox="1"/>
          <p:nvPr/>
        </p:nvSpPr>
        <p:spPr>
          <a:xfrm>
            <a:off x="1804655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5" name="Datumsplatzhalter 6">
            <a:extLst>
              <a:ext uri="{FF2B5EF4-FFF2-40B4-BE49-F238E27FC236}">
                <a16:creationId xmlns:a16="http://schemas.microsoft.com/office/drawing/2014/main" id="{7F5CD7DD-6680-CD44-AE42-8A52615F1A57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1E0EAD2-9703-4CFB-AAEA-EB1152856746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6" name="Fußzeilenplatzhalter 7">
            <a:extLst>
              <a:ext uri="{FF2B5EF4-FFF2-40B4-BE49-F238E27FC236}">
                <a16:creationId xmlns:a16="http://schemas.microsoft.com/office/drawing/2014/main" id="{41C10911-CCEB-153A-6521-F0A2CF309B4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e-AT"/>
          </a:p>
        </p:txBody>
      </p:sp>
      <p:sp>
        <p:nvSpPr>
          <p:cNvPr id="7" name="Foliennummernplatzhalter 8">
            <a:extLst>
              <a:ext uri="{FF2B5EF4-FFF2-40B4-BE49-F238E27FC236}">
                <a16:creationId xmlns:a16="http://schemas.microsoft.com/office/drawing/2014/main" id="{5E9C030A-16D5-65C1-B567-47161B4334D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31B021E-B449-45AA-8C0D-A830BCFCE7AB}" type="slidenum"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8188831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3">
            <a:extLst>
              <a:ext uri="{FF2B5EF4-FFF2-40B4-BE49-F238E27FC236}">
                <a16:creationId xmlns:a16="http://schemas.microsoft.com/office/drawing/2014/main" id="{DDDDC366-627A-D31E-3B33-3D2447569A85}"/>
              </a:ext>
            </a:extLst>
          </p:cNvPr>
          <p:cNvSpPr/>
          <p:nvPr/>
        </p:nvSpPr>
        <p:spPr>
          <a:xfrm>
            <a:off x="519652" y="1266956"/>
            <a:ext cx="4767962" cy="110799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6600" b="0" i="0" u="none" strike="noStrike" kern="1200" cap="all" spc="0" baseline="0">
                <a:solidFill>
                  <a:srgbClr val="686868"/>
                </a:solidFill>
                <a:effectLst>
                  <a:outerShdw dist="38096" dir="2700000">
                    <a:srgbClr val="000000"/>
                  </a:outerShdw>
                </a:effectLst>
                <a:uFillTx/>
                <a:latin typeface="voestalpine" pitchFamily="34"/>
              </a:rPr>
              <a:t>Join Now</a:t>
            </a:r>
          </a:p>
        </p:txBody>
      </p:sp>
      <p:sp>
        <p:nvSpPr>
          <p:cNvPr id="3" name="Rechteck 14">
            <a:extLst>
              <a:ext uri="{FF2B5EF4-FFF2-40B4-BE49-F238E27FC236}">
                <a16:creationId xmlns:a16="http://schemas.microsoft.com/office/drawing/2014/main" id="{C6ACE4D5-53DD-7299-C15E-8FBC6A962B6B}"/>
              </a:ext>
            </a:extLst>
          </p:cNvPr>
          <p:cNvSpPr/>
          <p:nvPr/>
        </p:nvSpPr>
        <p:spPr>
          <a:xfrm>
            <a:off x="548126" y="2545314"/>
            <a:ext cx="4767962" cy="453970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2500" b="0" i="0" u="none" strike="noStrike" kern="1200" cap="none" spc="0" baseline="0">
                <a:solidFill>
                  <a:srgbClr val="686868"/>
                </a:solidFill>
                <a:uFillTx/>
                <a:latin typeface="voestalpine Light" pitchFamily="34"/>
              </a:rPr>
              <a:t>www.voestalpine.com/welding</a:t>
            </a:r>
          </a:p>
        </p:txBody>
      </p:sp>
    </p:spTree>
    <p:extLst>
      <p:ext uri="{BB962C8B-B14F-4D97-AF65-F5344CB8AC3E}">
        <p14:creationId xmlns:p14="http://schemas.microsoft.com/office/powerpoint/2010/main" val="41712605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558B8F04-376F-7B34-A22F-C690BCA8DD2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 lang="en-US"/>
            </a:lvl1pPr>
          </a:lstStyle>
          <a:p>
            <a:pPr lvl="0"/>
            <a:fld id="{89F527CA-7629-4E38-B45D-9E0B6F2C0FE5}" type="slidenum">
              <a:t>‹#›</a:t>
            </a:fld>
            <a:endParaRPr lang="en-US"/>
          </a:p>
        </p:txBody>
      </p:sp>
      <p:sp>
        <p:nvSpPr>
          <p:cNvPr id="3" name="Textfeld 16">
            <a:extLst>
              <a:ext uri="{FF2B5EF4-FFF2-40B4-BE49-F238E27FC236}">
                <a16:creationId xmlns:a16="http://schemas.microsoft.com/office/drawing/2014/main" id="{53A80026-52EE-2FDD-68FD-24B23C253151}"/>
              </a:ext>
            </a:extLst>
          </p:cNvPr>
          <p:cNvSpPr txBox="1"/>
          <p:nvPr/>
        </p:nvSpPr>
        <p:spPr>
          <a:xfrm>
            <a:off x="519061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sp>
        <p:nvSpPr>
          <p:cNvPr id="4" name="Textfeld 17">
            <a:extLst>
              <a:ext uri="{FF2B5EF4-FFF2-40B4-BE49-F238E27FC236}">
                <a16:creationId xmlns:a16="http://schemas.microsoft.com/office/drawing/2014/main" id="{D60F8E44-B021-FFA9-61EF-6D1EAE4B83B8}"/>
              </a:ext>
            </a:extLst>
          </p:cNvPr>
          <p:cNvSpPr txBox="1"/>
          <p:nvPr/>
        </p:nvSpPr>
        <p:spPr>
          <a:xfrm>
            <a:off x="1499858" y="6333720"/>
            <a:ext cx="203202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|</a:t>
            </a:r>
          </a:p>
        </p:txBody>
      </p:sp>
      <p:cxnSp>
        <p:nvCxnSpPr>
          <p:cNvPr id="5" name="Gerade Verbindung 20">
            <a:extLst>
              <a:ext uri="{FF2B5EF4-FFF2-40B4-BE49-F238E27FC236}">
                <a16:creationId xmlns:a16="http://schemas.microsoft.com/office/drawing/2014/main" id="{8618F51E-5AB4-250A-48E9-C9F0AED72D20}"/>
              </a:ext>
            </a:extLst>
          </p:cNvPr>
          <p:cNvCxnSpPr/>
          <p:nvPr/>
        </p:nvCxnSpPr>
        <p:spPr>
          <a:xfrm>
            <a:off x="255591" y="1174546"/>
            <a:ext cx="8635999" cy="0"/>
          </a:xfrm>
          <a:prstGeom prst="straightConnector1">
            <a:avLst/>
          </a:prstGeom>
          <a:noFill/>
          <a:ln w="19046" cap="flat">
            <a:solidFill>
              <a:srgbClr val="1D314E"/>
            </a:solidFill>
            <a:prstDash val="solid"/>
            <a:miter/>
          </a:ln>
        </p:spPr>
      </p:cxn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22C9BB21-7DFA-1D4E-502A-0B06CAB7096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8766" y="246450"/>
            <a:ext cx="8635998" cy="372535"/>
          </a:xfrm>
        </p:spPr>
        <p:txBody>
          <a:bodyPr>
            <a:noAutofit/>
          </a:bodyPr>
          <a:lstStyle>
            <a:lvl1pPr marL="18002" indent="0">
              <a:buNone/>
              <a:defRPr lang="en-US" sz="2000"/>
            </a:lvl1pPr>
          </a:lstStyle>
          <a:p>
            <a:pPr lvl="0"/>
            <a:r>
              <a:rPr lang="en-US"/>
              <a:t>Xxx (1/x)</a:t>
            </a:r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31044069-265C-66A5-3455-F61249AE32B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8766" y="1637672"/>
            <a:ext cx="8632823" cy="4133846"/>
          </a:xfrm>
        </p:spPr>
        <p:txBody>
          <a:bodyPr/>
          <a:lstStyle>
            <a:lvl1pPr marL="809978" lvl="1">
              <a:tabLst>
                <a:tab pos="1079970" algn="l"/>
              </a:tabLst>
              <a:defRPr lang="en-US" sz="800"/>
            </a:lvl1pPr>
            <a:lvl2pPr marL="1079970" lvl="2">
              <a:tabLst/>
              <a:defRPr lang="en-US" sz="600"/>
            </a:lvl2pPr>
            <a:lvl3pPr marL="1079970" lvl="3">
              <a:tabLst/>
              <a:defRPr lang="en-US"/>
            </a:lvl3pPr>
            <a:lvl4pPr marL="1079970" lvl="4">
              <a:tabLst/>
              <a:defRPr lang="en-US" sz="1400"/>
            </a:lvl4pPr>
          </a:lstStyle>
          <a:p>
            <a:pPr lvl="1"/>
            <a:r>
              <a:rPr lang="en-US"/>
              <a:t>xxx</a:t>
            </a:r>
          </a:p>
          <a:p>
            <a:pPr lvl="2"/>
            <a:r>
              <a:rPr lang="en-US"/>
              <a:t>xxx</a:t>
            </a:r>
          </a:p>
          <a:p>
            <a:pPr lvl="3"/>
            <a:r>
              <a:rPr lang="en-US"/>
              <a:t>xxx</a:t>
            </a:r>
          </a:p>
          <a:p>
            <a:pPr lvl="4"/>
            <a:r>
              <a:rPr lang="en-US"/>
              <a:t>xxx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88CE9D0C-102E-95B3-1AED-EE08DC6DF37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543825" y="6277329"/>
            <a:ext cx="973829" cy="364799"/>
          </a:xfrm>
        </p:spPr>
        <p:txBody>
          <a:bodyPr/>
          <a:lstStyle>
            <a:lvl1pPr>
              <a:defRPr lang="en-US">
                <a:latin typeface="voestalpine" pitchFamily="34"/>
              </a:defRPr>
            </a:lvl1pPr>
          </a:lstStyle>
          <a:p>
            <a:pPr lvl="0"/>
            <a:r>
              <a:rPr lang="en-US"/>
              <a:t>15-Feb-22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42D66185-DFB8-ECC3-AB69-20CDD58A51E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1660527" y="6277329"/>
            <a:ext cx="4464044" cy="365129"/>
          </a:xfrm>
        </p:spPr>
        <p:txBody>
          <a:bodyPr/>
          <a:lstStyle>
            <a:lvl1pPr>
              <a:defRPr lang="en-US">
                <a:latin typeface="voestalpine" pitchFamily="34"/>
              </a:defRPr>
            </a:lvl1pPr>
          </a:lstStyle>
          <a:p>
            <a:pPr lvl="0"/>
            <a:r>
              <a:rPr lang="en-US"/>
              <a:t>vaBW Group Strategy 2025 - weldCare</a:t>
            </a:r>
          </a:p>
        </p:txBody>
      </p:sp>
    </p:spTree>
    <p:extLst>
      <p:ext uri="{BB962C8B-B14F-4D97-AF65-F5344CB8AC3E}">
        <p14:creationId xmlns:p14="http://schemas.microsoft.com/office/powerpoint/2010/main" val="12658886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28292693-D4C1-C0CF-A8DE-9C04A4C2843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1203325" y="6274649"/>
            <a:ext cx="4464044" cy="365010"/>
          </a:xfrm>
        </p:spPr>
        <p:txBody>
          <a:bodyPr/>
          <a:lstStyle>
            <a:lvl1pPr>
              <a:defRPr lang="en-US" sz="700">
                <a:latin typeface="voestalpine" pitchFamily="34"/>
              </a:defRPr>
            </a:lvl1pPr>
          </a:lstStyle>
          <a:p>
            <a:pPr lvl="0"/>
            <a:r>
              <a:rPr lang="en-US"/>
              <a:t>FC Product Portfolio for Cleaning,Pickling &amp; Passivation of Stainless Steel Ocxt 2022</a:t>
            </a:r>
            <a:endParaRPr lang="de-AT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8177AC83-A43F-CA36-B39C-794CF5B7AAA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256119" y="6275390"/>
            <a:ext cx="285752" cy="365010"/>
          </a:xfrm>
        </p:spPr>
        <p:txBody>
          <a:bodyPr/>
          <a:lstStyle>
            <a:lvl1pPr>
              <a:defRPr lang="en-US" sz="800"/>
            </a:lvl1pPr>
          </a:lstStyle>
          <a:p>
            <a:pPr lvl="0"/>
            <a:fld id="{30298D7D-E2C9-4E11-B70E-BA501504A5D1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7258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121A7455-CFDA-FCED-4736-2798FD1A132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256119" y="6275390"/>
            <a:ext cx="285752" cy="365010"/>
          </a:xfrm>
        </p:spPr>
        <p:txBody>
          <a:bodyPr/>
          <a:lstStyle>
            <a:lvl1pPr>
              <a:defRPr lang="en-US" sz="800"/>
            </a:lvl1pPr>
          </a:lstStyle>
          <a:p>
            <a:pPr lvl="0"/>
            <a:fld id="{F3293757-7881-441C-872B-08327B773CC2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9123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>
            <a:extLst>
              <a:ext uri="{FF2B5EF4-FFF2-40B4-BE49-F238E27FC236}">
                <a16:creationId xmlns:a16="http://schemas.microsoft.com/office/drawing/2014/main" id="{4B40EA82-AEE7-868A-0C53-D5601B004AA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539635" y="6340852"/>
            <a:ext cx="592592" cy="273597"/>
          </a:xfrm>
        </p:spPr>
        <p:txBody>
          <a:bodyPr/>
          <a:lstStyle>
            <a:lvl1pPr>
              <a:defRPr lang="sv-SE" sz="600">
                <a:latin typeface="voestalpine" pitchFamily="34"/>
              </a:defRPr>
            </a:lvl1pPr>
          </a:lstStyle>
          <a:p>
            <a:pPr lvl="0"/>
            <a:r>
              <a:rPr lang="sv-SE"/>
              <a:t>Mai, 2021</a:t>
            </a:r>
            <a:endParaRPr lang="en-US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5B103983-7FF5-CA8F-0811-7AE9B6E8AEE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1132228" y="6340614"/>
            <a:ext cx="3348034" cy="273844"/>
          </a:xfrm>
        </p:spPr>
        <p:txBody>
          <a:bodyPr/>
          <a:lstStyle>
            <a:lvl1pPr>
              <a:defRPr lang="en-US" sz="600">
                <a:latin typeface="voestalpine" pitchFamily="34"/>
              </a:defRPr>
            </a:lvl1pPr>
          </a:lstStyle>
          <a:p>
            <a:pPr lvl="0"/>
            <a:r>
              <a:rPr lang="en-US"/>
              <a:t>FC Product Portfolio for Cleaning,Pickling &amp; Passivation of Stainless Steel Ocxt 2022</a:t>
            </a:r>
            <a:endParaRPr lang="de-AT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AACAFF13-BAB7-FEC4-F346-2EDA858AD5B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323855" y="6340851"/>
            <a:ext cx="214313" cy="273844"/>
          </a:xfrm>
        </p:spPr>
        <p:txBody>
          <a:bodyPr/>
          <a:lstStyle>
            <a:lvl1pPr>
              <a:defRPr lang="en-US" sz="600"/>
            </a:lvl1pPr>
          </a:lstStyle>
          <a:p>
            <a:pPr lvl="0"/>
            <a:fld id="{6245D8A2-3225-44B8-BA09-B81C91A7F43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9157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24">
            <a:extLst>
              <a:ext uri="{FF2B5EF4-FFF2-40B4-BE49-F238E27FC236}">
                <a16:creationId xmlns:a16="http://schemas.microsoft.com/office/drawing/2014/main" id="{52B05A7C-E225-EBFB-82F0-605EFF40F6A6}"/>
              </a:ext>
            </a:extLst>
          </p:cNvPr>
          <p:cNvSpPr txBox="1"/>
          <p:nvPr/>
        </p:nvSpPr>
        <p:spPr>
          <a:xfrm>
            <a:off x="256119" y="6327072"/>
            <a:ext cx="5877985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0" i="0" u="none" strike="noStrike" kern="1200" cap="none" spc="0" baseline="0">
                <a:solidFill>
                  <a:srgbClr val="333333"/>
                </a:solidFill>
                <a:uFillTx/>
                <a:latin typeface="voestalpine Light" pitchFamily="34"/>
              </a:rPr>
              <a:t>www.voestalpine.com/welding</a:t>
            </a:r>
          </a:p>
        </p:txBody>
      </p:sp>
      <p:sp>
        <p:nvSpPr>
          <p:cNvPr id="3" name="Textfeld 25">
            <a:extLst>
              <a:ext uri="{FF2B5EF4-FFF2-40B4-BE49-F238E27FC236}">
                <a16:creationId xmlns:a16="http://schemas.microsoft.com/office/drawing/2014/main" id="{ED91E0E4-0C58-2B4A-1025-B9737F692612}"/>
              </a:ext>
            </a:extLst>
          </p:cNvPr>
          <p:cNvSpPr txBox="1"/>
          <p:nvPr/>
        </p:nvSpPr>
        <p:spPr>
          <a:xfrm>
            <a:off x="256119" y="6090654"/>
            <a:ext cx="5877985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100" b="1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voestalpine Böhler Welding</a:t>
            </a:r>
          </a:p>
        </p:txBody>
      </p:sp>
      <p:grpSp>
        <p:nvGrpSpPr>
          <p:cNvPr id="4" name="Gruppieren 14">
            <a:extLst>
              <a:ext uri="{FF2B5EF4-FFF2-40B4-BE49-F238E27FC236}">
                <a16:creationId xmlns:a16="http://schemas.microsoft.com/office/drawing/2014/main" id="{0B0B4650-2B32-4DC0-4FF3-7C688F513B0B}"/>
              </a:ext>
            </a:extLst>
          </p:cNvPr>
          <p:cNvGrpSpPr/>
          <p:nvPr/>
        </p:nvGrpSpPr>
        <p:grpSpPr>
          <a:xfrm>
            <a:off x="256119" y="6090654"/>
            <a:ext cx="5877985" cy="405695"/>
            <a:chOff x="341491" y="6090653"/>
            <a:chExt cx="7837313" cy="405695"/>
          </a:xfrm>
        </p:grpSpPr>
        <p:sp>
          <p:nvSpPr>
            <p:cNvPr id="5" name="Textfeld 15">
              <a:extLst>
                <a:ext uri="{FF2B5EF4-FFF2-40B4-BE49-F238E27FC236}">
                  <a16:creationId xmlns:a16="http://schemas.microsoft.com/office/drawing/2014/main" id="{BA6ED1B0-0376-C3FA-64C5-816B69AD6328}"/>
                </a:ext>
              </a:extLst>
            </p:cNvPr>
            <p:cNvSpPr txBox="1"/>
            <p:nvPr/>
          </p:nvSpPr>
          <p:spPr>
            <a:xfrm>
              <a:off x="341491" y="6327071"/>
              <a:ext cx="7837313" cy="16927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6858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100" b="0" i="0" u="none" strike="noStrike" kern="1200" cap="none" spc="0" baseline="0">
                  <a:solidFill>
                    <a:srgbClr val="333333"/>
                  </a:solidFill>
                  <a:uFillTx/>
                  <a:latin typeface="voestalpine Light" pitchFamily="34"/>
                </a:rPr>
                <a:t>www.voestalpine.com/welding</a:t>
              </a:r>
            </a:p>
          </p:txBody>
        </p:sp>
        <p:sp>
          <p:nvSpPr>
            <p:cNvPr id="6" name="Textfeld 17">
              <a:extLst>
                <a:ext uri="{FF2B5EF4-FFF2-40B4-BE49-F238E27FC236}">
                  <a16:creationId xmlns:a16="http://schemas.microsoft.com/office/drawing/2014/main" id="{D6D30251-7ED1-A750-6BE4-AA0AE75D8D00}"/>
                </a:ext>
              </a:extLst>
            </p:cNvPr>
            <p:cNvSpPr txBox="1"/>
            <p:nvPr/>
          </p:nvSpPr>
          <p:spPr>
            <a:xfrm>
              <a:off x="341491" y="6090653"/>
              <a:ext cx="7837313" cy="16927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0" compatLnSpc="1">
              <a:spAutoFit/>
            </a:bodyPr>
            <a:lstStyle/>
            <a:p>
              <a:pPr marL="0" marR="0" lvl="0" indent="0" algn="l" defTabSz="6858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100" b="1" i="0" u="none" strike="noStrike" kern="1200" cap="none" spc="0" baseline="0">
                  <a:solidFill>
                    <a:srgbClr val="333333"/>
                  </a:solidFill>
                  <a:uFillTx/>
                  <a:latin typeface="voestalpine" pitchFamily="34"/>
                </a:rPr>
                <a:t>voestalpine Böhler Welding</a:t>
              </a:r>
            </a:p>
          </p:txBody>
        </p:sp>
      </p:grpSp>
      <p:pic>
        <p:nvPicPr>
          <p:cNvPr id="7" name="Picture 3" descr="C:\Users\v704932\Documents\00_Arbeitsdaten_Krische\Präsentationen\Präsentationen neues Logo_190917\va logo rgb.png">
            <a:extLst>
              <a:ext uri="{FF2B5EF4-FFF2-40B4-BE49-F238E27FC236}">
                <a16:creationId xmlns:a16="http://schemas.microsoft.com/office/drawing/2014/main" id="{74ABAA66-C000-C683-87F3-0CF3B7F54D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96398" y="5551706"/>
            <a:ext cx="2849444" cy="132777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2" descr="C:\Users\v704932\Documents\00_Arbeitsdaten_Krische\Präsentationen\Präsentationen neues Logo_190917\voestschwung.png">
            <a:extLst>
              <a:ext uri="{FF2B5EF4-FFF2-40B4-BE49-F238E27FC236}">
                <a16:creationId xmlns:a16="http://schemas.microsoft.com/office/drawing/2014/main" id="{9DE2E159-805A-0A83-D0FC-17924EF03E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4572996"/>
            <a:ext cx="9151391" cy="2313450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9" name="Gruppieren 18">
            <a:extLst>
              <a:ext uri="{FF2B5EF4-FFF2-40B4-BE49-F238E27FC236}">
                <a16:creationId xmlns:a16="http://schemas.microsoft.com/office/drawing/2014/main" id="{18666F6B-73DF-9D2C-5881-429D697B009C}"/>
              </a:ext>
            </a:extLst>
          </p:cNvPr>
          <p:cNvGrpSpPr/>
          <p:nvPr/>
        </p:nvGrpSpPr>
        <p:grpSpPr>
          <a:xfrm>
            <a:off x="-1214" y="4571378"/>
            <a:ext cx="9151391" cy="2313450"/>
            <a:chOff x="-1618" y="4571378"/>
            <a:chExt cx="12201854" cy="2313450"/>
          </a:xfrm>
        </p:grpSpPr>
        <p:pic>
          <p:nvPicPr>
            <p:cNvPr id="10" name="Picture 2" descr="C:\Users\v704932\Documents\00_Arbeitsdaten_Krische\Präsentationen\Präsentationen neues Logo_190917\voestschwung.png">
              <a:extLst>
                <a:ext uri="{FF2B5EF4-FFF2-40B4-BE49-F238E27FC236}">
                  <a16:creationId xmlns:a16="http://schemas.microsoft.com/office/drawing/2014/main" id="{A287A4BF-95F4-B586-4E97-B2E9640C7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-1618" y="4571378"/>
              <a:ext cx="12201854" cy="23134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" name="Picture 3" descr="C:\Users\v704932\Documents\00_Arbeitsdaten_Krische\Präsentationen\Präsentationen neues Logo_190917\va logo rgb.png">
              <a:extLst>
                <a:ext uri="{FF2B5EF4-FFF2-40B4-BE49-F238E27FC236}">
                  <a16:creationId xmlns:a16="http://schemas.microsoft.com/office/drawing/2014/main" id="{C76F0FF2-A61E-0873-5FA0-9032D90B02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8392244" y="5548752"/>
              <a:ext cx="3799258" cy="1327772"/>
            </a:xfrm>
            <a:prstGeom prst="rect">
              <a:avLst/>
            </a:prstGeom>
            <a:noFill/>
            <a:ln cap="flat">
              <a:noFill/>
            </a:ln>
          </p:spPr>
        </p:pic>
        <p:grpSp>
          <p:nvGrpSpPr>
            <p:cNvPr id="12" name="Gruppieren 23">
              <a:extLst>
                <a:ext uri="{FF2B5EF4-FFF2-40B4-BE49-F238E27FC236}">
                  <a16:creationId xmlns:a16="http://schemas.microsoft.com/office/drawing/2014/main" id="{584ECA7A-1899-562C-B286-13F36FA197C1}"/>
                </a:ext>
              </a:extLst>
            </p:cNvPr>
            <p:cNvGrpSpPr/>
            <p:nvPr/>
          </p:nvGrpSpPr>
          <p:grpSpPr>
            <a:xfrm>
              <a:off x="339864" y="6089035"/>
              <a:ext cx="7837313" cy="405695"/>
              <a:chOff x="339864" y="6089035"/>
              <a:chExt cx="7837313" cy="405695"/>
            </a:xfrm>
          </p:grpSpPr>
          <p:sp>
            <p:nvSpPr>
              <p:cNvPr id="13" name="Textfeld 26">
                <a:extLst>
                  <a:ext uri="{FF2B5EF4-FFF2-40B4-BE49-F238E27FC236}">
                    <a16:creationId xmlns:a16="http://schemas.microsoft.com/office/drawing/2014/main" id="{940DF833-6E4E-68A0-F1F2-59662635EB6B}"/>
                  </a:ext>
                </a:extLst>
              </p:cNvPr>
              <p:cNvSpPr txBox="1"/>
              <p:nvPr/>
            </p:nvSpPr>
            <p:spPr>
              <a:xfrm>
                <a:off x="339864" y="6325453"/>
                <a:ext cx="7837313" cy="169277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0" tIns="0" rIns="0" bIns="0" anchor="t" anchorCtr="0" compatLnSpc="1">
                <a:spAutoFit/>
              </a:bodyPr>
              <a:lstStyle/>
              <a:p>
                <a:pPr marL="0" marR="0" lvl="0" indent="0" algn="l" defTabSz="6858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100" b="0" i="0" u="none" strike="noStrike" kern="1200" cap="none" spc="0" baseline="0">
                    <a:solidFill>
                      <a:srgbClr val="333333"/>
                    </a:solidFill>
                    <a:uFillTx/>
                    <a:latin typeface="voestalpine Light" pitchFamily="34"/>
                  </a:rPr>
                  <a:t>www.voestalpine.com/welding</a:t>
                </a:r>
              </a:p>
            </p:txBody>
          </p:sp>
          <p:sp>
            <p:nvSpPr>
              <p:cNvPr id="14" name="Textfeld 27">
                <a:extLst>
                  <a:ext uri="{FF2B5EF4-FFF2-40B4-BE49-F238E27FC236}">
                    <a16:creationId xmlns:a16="http://schemas.microsoft.com/office/drawing/2014/main" id="{40829D3D-A973-2EAD-E6F9-33E8A94B17DD}"/>
                  </a:ext>
                </a:extLst>
              </p:cNvPr>
              <p:cNvSpPr txBox="1"/>
              <p:nvPr/>
            </p:nvSpPr>
            <p:spPr>
              <a:xfrm>
                <a:off x="339864" y="6089035"/>
                <a:ext cx="7837313" cy="169277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0" tIns="0" rIns="0" bIns="0" anchor="t" anchorCtr="0" compatLnSpc="1">
                <a:spAutoFit/>
              </a:bodyPr>
              <a:lstStyle/>
              <a:p>
                <a:pPr marL="0" marR="0" lvl="0" indent="0" algn="l" defTabSz="6858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1100" b="1" i="0" u="none" strike="noStrike" kern="1200" cap="none" spc="0" baseline="0">
                    <a:solidFill>
                      <a:srgbClr val="333333"/>
                    </a:solidFill>
                    <a:uFillTx/>
                    <a:latin typeface="voestalpine" pitchFamily="34"/>
                  </a:rPr>
                  <a:t>voestalpine Böhler Welding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8539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pic>
        <p:nvPicPr>
          <p:cNvPr id="6" name="Picture 7" descr="Brands_RGB_centere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 dirty="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8" name="Picture 10" descr="Logo_DO-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7E59500-33D4-4EAB-A1B5-8319F1B93A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70133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ags" Target="../tags/tag4.xml"/><Relationship Id="rId25" Type="http://schemas.openxmlformats.org/officeDocument/2006/relationships/image" Target="../media/image8.png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7.jpe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tags" Target="../tags/tag5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32" Type="http://schemas.openxmlformats.org/officeDocument/2006/relationships/image" Target="../media/image13.jpeg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oleObject" Target="../embeddings/oleObject1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oleObject" Target="../embeddings/oleObject41.bin"/><Relationship Id="rId3" Type="http://schemas.openxmlformats.org/officeDocument/2006/relationships/slideLayout" Target="../slideLayouts/slideLayout51.xml"/><Relationship Id="rId21" Type="http://schemas.openxmlformats.org/officeDocument/2006/relationships/image" Target="../media/image34.pn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ags" Target="../tags/tag78.xml"/><Relationship Id="rId2" Type="http://schemas.openxmlformats.org/officeDocument/2006/relationships/slideLayout" Target="../slideLayouts/slideLayout50.xml"/><Relationship Id="rId16" Type="http://schemas.openxmlformats.org/officeDocument/2006/relationships/tags" Target="../tags/tag77.xml"/><Relationship Id="rId20" Type="http://schemas.openxmlformats.org/officeDocument/2006/relationships/image" Target="../media/image33.jpe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32.emf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image" Target="../media/image12.emf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oleObject" Target="../embeddings/oleObject43.bin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theme" Target="../theme/theme5.xml"/><Relationship Id="rId30" Type="http://schemas.openxmlformats.org/officeDocument/2006/relationships/image" Target="../media/image4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Grafik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0538" y="104775"/>
            <a:ext cx="946150" cy="91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179388"/>
            <a:ext cx="7651750" cy="1081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v-SE"/>
              <a:t>Titelmasterformat durch Klicken bearbeiten</a:t>
            </a:r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23850" y="1482725"/>
            <a:ext cx="8499475" cy="396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v-SE"/>
              <a:t>Textmasterformat bearbeiten</a:t>
            </a:r>
          </a:p>
          <a:p>
            <a:pPr lvl="1"/>
            <a:r>
              <a:rPr lang="en-US" altLang="sv-SE"/>
              <a:t>Zweite Ebene</a:t>
            </a:r>
          </a:p>
          <a:p>
            <a:pPr lvl="2"/>
            <a:r>
              <a:rPr lang="en-US" altLang="sv-SE"/>
              <a:t>Dritte Ebene</a:t>
            </a:r>
          </a:p>
          <a:p>
            <a:pPr lvl="3"/>
            <a:r>
              <a:rPr lang="en-US" altLang="sv-SE"/>
              <a:t>Vierte Ebene</a:t>
            </a:r>
          </a:p>
          <a:p>
            <a:pPr lvl="4"/>
            <a:r>
              <a:rPr lang="en-US" altLang="sv-S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30250" y="63722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38313" y="637381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23850" y="6383338"/>
            <a:ext cx="431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85BCB396-66B3-435D-A4E5-E8BCEC1717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2" name="Textfeld 6"/>
          <p:cNvSpPr txBox="1">
            <a:spLocks noChangeArrowheads="1"/>
          </p:cNvSpPr>
          <p:nvPr/>
        </p:nvSpPr>
        <p:spPr bwMode="auto">
          <a:xfrm>
            <a:off x="323850" y="6257925"/>
            <a:ext cx="2973388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altLang="sv-SE" sz="1100" b="1"/>
              <a:t>voestalpine Böhler Welding</a:t>
            </a:r>
          </a:p>
        </p:txBody>
      </p:sp>
      <p:pic>
        <p:nvPicPr>
          <p:cNvPr id="1033" name="Picture 128" descr="logo_e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6363" y="6180138"/>
            <a:ext cx="2363787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5" r:id="rId2"/>
    <p:sldLayoutId id="2147483656" r:id="rId3"/>
    <p:sldLayoutId id="2147483657" r:id="rId4"/>
    <p:sldLayoutId id="2147483658" r:id="rId5"/>
    <p:sldLayoutId id="2147483683" r:id="rId6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algn="l" rtl="0" fontAlgn="base">
        <a:lnSpc>
          <a:spcPct val="105000"/>
        </a:lnSpc>
        <a:spcBef>
          <a:spcPct val="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2425" indent="-352425" algn="l" rtl="0" fontAlgn="base">
        <a:lnSpc>
          <a:spcPct val="105000"/>
        </a:lnSpc>
        <a:spcBef>
          <a:spcPct val="0"/>
        </a:spcBef>
        <a:spcAft>
          <a:spcPct val="0"/>
        </a:spcAft>
        <a:buClr>
          <a:srgbClr val="0082B4"/>
        </a:buClr>
        <a:buSzPct val="80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36588" indent="-284163" algn="l" rtl="0" fontAlgn="base">
        <a:lnSpc>
          <a:spcPct val="105000"/>
        </a:lnSpc>
        <a:spcBef>
          <a:spcPct val="0"/>
        </a:spcBef>
        <a:spcAft>
          <a:spcPct val="0"/>
        </a:spcAft>
        <a:buClr>
          <a:srgbClr val="0082B4"/>
        </a:buClr>
        <a:buSzPct val="80000"/>
        <a:buFont typeface="Wingdings" pitchFamily="2" charset="2"/>
        <a:buChar char=""/>
        <a:defRPr lang="de-DE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03288" indent="-265113" algn="l" rtl="0" fontAlgn="base">
        <a:lnSpc>
          <a:spcPct val="105000"/>
        </a:lnSpc>
        <a:spcBef>
          <a:spcPct val="0"/>
        </a:spcBef>
        <a:spcAft>
          <a:spcPct val="0"/>
        </a:spcAft>
        <a:buClr>
          <a:srgbClr val="0082B4"/>
        </a:buClr>
        <a:buSzPct val="80000"/>
        <a:buFont typeface="Wingdings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265113" algn="l" rtl="0" fontAlgn="base">
        <a:lnSpc>
          <a:spcPct val="105000"/>
        </a:lnSpc>
        <a:spcBef>
          <a:spcPct val="0"/>
        </a:spcBef>
        <a:spcAft>
          <a:spcPct val="0"/>
        </a:spcAft>
        <a:buClr>
          <a:srgbClr val="0082B4"/>
        </a:buClr>
        <a:buSzPct val="80000"/>
        <a:buFont typeface="Wingdings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0" imgH="0" progId="TCLayout.ActiveDocument.1">
                  <p:embed/>
                </p:oleObj>
              </mc:Choice>
              <mc:Fallback>
                <p:oleObj name="think-cell Slide" r:id="rId23" imgW="0" imgH="0" progId="TCLayout.ActiveDocument.1">
                  <p:embed/>
                  <p:pic>
                    <p:nvPicPr>
                      <p:cNvPr id="307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36538" y="6553200"/>
            <a:ext cx="46958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</a:t>
            </a:r>
          </a:p>
        </p:txBody>
      </p:sp>
      <p:sp>
        <p:nvSpPr>
          <p:cNvPr id="3076" name="Rectangle 5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auto">
          <a:xfrm>
            <a:off x="477838" y="342900"/>
            <a:ext cx="61690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Titelmasterformat durch Klicken</a:t>
            </a:r>
            <a:br>
              <a:rPr lang="en-US"/>
            </a:br>
            <a:r>
              <a:rPr lang="en-US"/>
              <a:t>bearbeiten</a:t>
            </a:r>
          </a:p>
        </p:txBody>
      </p:sp>
      <p:sp>
        <p:nvSpPr>
          <p:cNvPr id="3077" name="Rectangle 6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477838" y="1412875"/>
            <a:ext cx="8486775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3078" name="Picture 7" descr="Brands_RGB_centered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6286500"/>
            <a:ext cx="1655763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7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274638" y="6553200"/>
            <a:ext cx="307975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00">
                <a:solidFill>
                  <a:srgbClr val="292929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FC908BF-470A-4B3B-9B4E-5CF2C4DC11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080" name="Rectangle 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36538" y="6553200"/>
            <a:ext cx="649605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>
                <a:solidFill>
                  <a:srgbClr val="292929"/>
                </a:solidFill>
                <a:latin typeface="Arial" pitchFamily="34" charset="0"/>
              </a:rPr>
              <a:t>              |      Company     |      Presentation Title      I      Date        </a:t>
            </a:r>
          </a:p>
        </p:txBody>
      </p:sp>
      <p:pic>
        <p:nvPicPr>
          <p:cNvPr id="3081" name="Picture 10" descr="Logo_DO-PPT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835150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281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Arial" pitchFamily="34" charset="0"/>
          <a:cs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Arial" pitchFamily="34" charset="0"/>
          <a:cs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Arial" pitchFamily="34" charset="0"/>
          <a:cs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292929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Font typeface="Wingdings" pitchFamily="2" charset="2"/>
        <a:defRPr>
          <a:solidFill>
            <a:srgbClr val="292929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rgbClr val="292929"/>
          </a:solidFill>
          <a:latin typeface="+mn-lt"/>
          <a:cs typeface="+mn-cs"/>
        </a:defRPr>
      </a:lvl2pPr>
      <a:lvl3pPr marL="358775" indent="-1778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rgbClr val="292929"/>
          </a:solidFill>
          <a:latin typeface="+mn-lt"/>
          <a:cs typeface="+mn-cs"/>
        </a:defRPr>
      </a:lvl3pPr>
      <a:lvl4pPr marL="512763" indent="-1524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00">
          <a:solidFill>
            <a:srgbClr val="292929"/>
          </a:solidFill>
          <a:latin typeface="+mn-lt"/>
          <a:cs typeface="+mn-cs"/>
        </a:defRPr>
      </a:lvl4pPr>
      <a:lvl5pPr marL="639763" indent="-12541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000">
          <a:solidFill>
            <a:srgbClr val="292929"/>
          </a:solidFill>
          <a:latin typeface="+mn-lt"/>
          <a:cs typeface="+mn-cs"/>
        </a:defRPr>
      </a:lvl5pPr>
      <a:lvl6pPr marL="1096963" indent="-1254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000">
          <a:solidFill>
            <a:srgbClr val="292929"/>
          </a:solidFill>
          <a:latin typeface="+mn-lt"/>
          <a:cs typeface="+mn-cs"/>
        </a:defRPr>
      </a:lvl6pPr>
      <a:lvl7pPr marL="1554163" indent="-1254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000">
          <a:solidFill>
            <a:srgbClr val="292929"/>
          </a:solidFill>
          <a:latin typeface="+mn-lt"/>
          <a:cs typeface="+mn-cs"/>
        </a:defRPr>
      </a:lvl7pPr>
      <a:lvl8pPr marL="2011363" indent="-1254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000">
          <a:solidFill>
            <a:srgbClr val="292929"/>
          </a:solidFill>
          <a:latin typeface="+mn-lt"/>
          <a:cs typeface="+mn-cs"/>
        </a:defRPr>
      </a:lvl8pPr>
      <a:lvl9pPr marL="2468563" indent="-1254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000">
          <a:solidFill>
            <a:srgbClr val="292929"/>
          </a:solidFill>
          <a:latin typeface="+mn-lt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0EAD68D-7876-4983-8789-975BB98A3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982149665"/>
              </p:ext>
            </p:ext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08" imgH="408" progId="TCLayout.ActiveDocument.1">
                  <p:embed/>
                </p:oleObj>
              </mc:Choice>
              <mc:Fallback>
                <p:oleObj name="think-cell Slide" r:id="rId30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0EAD68D-7876-4983-8789-975BB98A3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5588" y="203200"/>
            <a:ext cx="6049962" cy="12128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AT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5589" y="1704002"/>
            <a:ext cx="8636000" cy="39410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AT" noProof="0" dirty="0"/>
              <a:t>Textmasterformat bearbeiten</a:t>
            </a:r>
          </a:p>
          <a:p>
            <a:pPr lvl="1"/>
            <a:r>
              <a:rPr lang="de-AT" noProof="0" dirty="0"/>
              <a:t>Erste Ebene</a:t>
            </a:r>
          </a:p>
          <a:p>
            <a:pPr lvl="2"/>
            <a:r>
              <a:rPr lang="de-AT" noProof="0" dirty="0"/>
              <a:t>Zweite Ebene</a:t>
            </a:r>
          </a:p>
          <a:p>
            <a:pPr lvl="3"/>
            <a:r>
              <a:rPr lang="de-AT" noProof="0" dirty="0"/>
              <a:t>Dritte Ebene</a:t>
            </a:r>
          </a:p>
          <a:p>
            <a:pPr lvl="4"/>
            <a:endParaRPr lang="de-AT" noProof="0" dirty="0"/>
          </a:p>
          <a:p>
            <a:pPr lvl="4"/>
            <a:endParaRPr lang="de-AT" noProof="0" dirty="0"/>
          </a:p>
          <a:p>
            <a:pPr lvl="4"/>
            <a:endParaRPr lang="de-AT" noProof="0" dirty="0"/>
          </a:p>
        </p:txBody>
      </p:sp>
      <p:pic>
        <p:nvPicPr>
          <p:cNvPr id="2050" name="Picture 2" descr="C:\Users\reibenm\Desktop\Marke\Markenphase VIIII\Markenprozess\Corporate Design\Erste Umsetzungen\Vorlagen neu\Unterlagen Grafik für ppt\v_S_PP.jpg"/>
          <p:cNvPicPr>
            <a:picLocks noChangeAspect="1" noChangeArrowheads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37" t="65405"/>
          <a:stretch/>
        </p:blipFill>
        <p:spPr bwMode="auto">
          <a:xfrm>
            <a:off x="6413326" y="5695169"/>
            <a:ext cx="2730674" cy="116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56116" y="6277331"/>
            <a:ext cx="2857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9" name="Textfeld 8"/>
          <p:cNvSpPr txBox="1"/>
          <p:nvPr/>
        </p:nvSpPr>
        <p:spPr>
          <a:xfrm>
            <a:off x="256116" y="6103359"/>
            <a:ext cx="588751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AT" sz="1100" b="1" noProof="0">
                <a:solidFill>
                  <a:schemeClr val="tx1"/>
                </a:solidFill>
                <a:latin typeface="voestalpine" panose="020B0500030000000000" pitchFamily="34" charset="0"/>
              </a:rPr>
              <a:t>voestalpine Böhler Welding</a:t>
            </a:r>
            <a:endParaRPr lang="de-AT" sz="1100" b="1" noProof="0" dirty="0">
              <a:solidFill>
                <a:schemeClr val="tx1"/>
              </a:solidFill>
              <a:latin typeface="voestalpine" panose="020B0500030000000000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43783" y="6280244"/>
            <a:ext cx="125134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3C04B4EF-F0D6-4261-BF13-2833B19BA77E}" type="datetime1">
              <a:rPr lang="de-AT" smtClean="0"/>
              <a:t>24.10.2024</a:t>
            </a:fld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65330" y="6285208"/>
            <a:ext cx="30861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91525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</p:sldLayoutIdLst>
  <p:hf hdr="0"/>
  <p:txStyles>
    <p:titleStyle>
      <a:lvl1pPr algn="l" defTabSz="914378" rtl="0" eaLnBrk="1" latinLnBrk="0" hangingPunct="1">
        <a:spcBef>
          <a:spcPct val="0"/>
        </a:spcBef>
        <a:buNone/>
        <a:defRPr sz="2200" kern="1200">
          <a:solidFill>
            <a:schemeClr val="tx2"/>
          </a:solidFill>
          <a:latin typeface="voestalpine" panose="020B0500030000000000" pitchFamily="34" charset="0"/>
          <a:ea typeface="+mj-ea"/>
          <a:cs typeface="+mj-cs"/>
        </a:defRPr>
      </a:lvl1pPr>
    </p:titleStyle>
    <p:bodyStyle>
      <a:lvl1pPr marL="269993" indent="-269993" algn="l" defTabSz="914378" rtl="0" eaLnBrk="1" latinLnBrk="0" hangingPunct="1">
        <a:lnSpc>
          <a:spcPct val="105000"/>
        </a:lnSpc>
        <a:spcBef>
          <a:spcPts val="0"/>
        </a:spcBef>
        <a:buClr>
          <a:schemeClr val="tx2"/>
        </a:buClr>
        <a:buSzPct val="100000"/>
        <a:buFont typeface="voestalpine" panose="020B0500030000000000" pitchFamily="34" charset="0"/>
        <a:buChar char="»"/>
        <a:defRPr sz="1600" kern="1200">
          <a:solidFill>
            <a:schemeClr val="tx1"/>
          </a:solidFill>
          <a:latin typeface="voestalpine" panose="020B0500030000000000" pitchFamily="34" charset="0"/>
          <a:ea typeface="+mn-ea"/>
          <a:cs typeface="+mn-cs"/>
        </a:defRPr>
      </a:lvl1pPr>
      <a:lvl2pPr marL="269993" indent="-269993" algn="l" defTabSz="914378" rtl="0" eaLnBrk="1" latinLnBrk="0" hangingPunct="1">
        <a:lnSpc>
          <a:spcPct val="105000"/>
        </a:lnSpc>
        <a:spcBef>
          <a:spcPts val="0"/>
        </a:spcBef>
        <a:buClr>
          <a:schemeClr val="tx2"/>
        </a:buClr>
        <a:buSzPct val="100000"/>
        <a:buFont typeface="voestalpine" panose="020B0500030000000000" pitchFamily="34" charset="0"/>
        <a:buChar char="»"/>
        <a:tabLst>
          <a:tab pos="359991" algn="l"/>
        </a:tabLst>
        <a:defRPr sz="1600" kern="1200">
          <a:solidFill>
            <a:schemeClr val="tx1"/>
          </a:solidFill>
          <a:latin typeface="voestalpine" panose="020B0500030000000000" pitchFamily="34" charset="0"/>
          <a:ea typeface="+mn-ea"/>
          <a:cs typeface="+mn-cs"/>
        </a:defRPr>
      </a:lvl2pPr>
      <a:lvl3pPr marL="539987" indent="-269993" algn="l" defTabSz="914378" rtl="0" eaLnBrk="1" latinLnBrk="0" hangingPunct="1">
        <a:lnSpc>
          <a:spcPct val="105000"/>
        </a:lnSpc>
        <a:spcBef>
          <a:spcPts val="0"/>
        </a:spcBef>
        <a:buClr>
          <a:schemeClr val="tx2"/>
        </a:buClr>
        <a:buSzPct val="100000"/>
        <a:buFont typeface="voestalpine" panose="020B0500030000000000" pitchFamily="34" charset="0"/>
        <a:buChar char="»"/>
        <a:tabLst>
          <a:tab pos="719982" algn="l"/>
        </a:tabLst>
        <a:defRPr lang="de-DE" sz="1400" kern="1200" dirty="0" smtClean="0">
          <a:solidFill>
            <a:schemeClr val="tx1"/>
          </a:solidFill>
          <a:latin typeface="voestalpine" panose="020B0500030000000000" pitchFamily="34" charset="0"/>
          <a:ea typeface="+mn-ea"/>
          <a:cs typeface="+mn-cs"/>
        </a:defRPr>
      </a:lvl3pPr>
      <a:lvl4pPr marL="809980" marR="0" indent="-269993" algn="l" defTabSz="914378" rtl="0" eaLnBrk="1" fontAlgn="auto" latinLnBrk="0" hangingPunct="1">
        <a:lnSpc>
          <a:spcPct val="10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voestalpine" panose="020B0500030000000000" pitchFamily="34" charset="0"/>
        <a:buChar char="»"/>
        <a:tabLst>
          <a:tab pos="1079973" algn="l"/>
        </a:tabLst>
        <a:defRPr lang="en-US" sz="1200" kern="1200" noProof="0" dirty="0">
          <a:solidFill>
            <a:schemeClr val="tx1"/>
          </a:solidFill>
          <a:latin typeface="voestalpine" panose="020B0500030000000000" pitchFamily="34" charset="0"/>
          <a:ea typeface="+mn-ea"/>
          <a:cs typeface="+mn-cs"/>
        </a:defRPr>
      </a:lvl4pPr>
      <a:lvl5pPr marL="1079973" indent="-269993" algn="l" defTabSz="914378" rtl="0" eaLnBrk="1" latinLnBrk="0" hangingPunct="1">
        <a:lnSpc>
          <a:spcPct val="105000"/>
        </a:lnSpc>
        <a:spcBef>
          <a:spcPts val="0"/>
        </a:spcBef>
        <a:buClr>
          <a:schemeClr val="tx2"/>
        </a:buClr>
        <a:buSzPct val="100000"/>
        <a:buFont typeface="voestalpine" panose="020B0500030000000000" pitchFamily="34" charset="0"/>
        <a:buChar char="»"/>
        <a:defRPr sz="1400" kern="1200">
          <a:solidFill>
            <a:schemeClr val="tx1"/>
          </a:solidFill>
          <a:latin typeface="voestalpine" panose="020B0500030000000000" pitchFamily="34" charset="0"/>
          <a:ea typeface="+mn-ea"/>
          <a:cs typeface="+mn-cs"/>
        </a:defRPr>
      </a:lvl5pPr>
      <a:lvl6pPr marL="1349966" indent="-269993" algn="l" defTabSz="914378" rtl="0" eaLnBrk="1" latinLnBrk="0" hangingPunct="1">
        <a:spcBef>
          <a:spcPct val="20000"/>
        </a:spcBef>
        <a:buClr>
          <a:schemeClr val="tx2"/>
        </a:buClr>
        <a:buSzPct val="100000"/>
        <a:buFont typeface="voestalpine" panose="020B0500030000000000" pitchFamily="34" charset="0"/>
        <a:buChar char="»"/>
        <a:tabLst>
          <a:tab pos="1439964" algn="l"/>
        </a:tabLst>
        <a:defRPr sz="1200" kern="1200">
          <a:solidFill>
            <a:schemeClr val="tx1"/>
          </a:solidFill>
          <a:latin typeface="voestalpine" panose="020B0500030000000000" pitchFamily="34" charset="0"/>
          <a:ea typeface="+mn-ea"/>
          <a:cs typeface="+mn-cs"/>
        </a:defRPr>
      </a:lvl6pPr>
      <a:lvl7pPr marL="1258856" indent="-358766" algn="l" defTabSz="914378" rtl="0" eaLnBrk="1" latinLnBrk="0" hangingPunct="1">
        <a:spcBef>
          <a:spcPct val="20000"/>
        </a:spcBef>
        <a:buFont typeface="Arial" pitchFamily="34" charset="0"/>
        <a:buChar char="•"/>
        <a:tabLst>
          <a:tab pos="1790655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30" imgH="531" progId="TCLayout.ActiveDocument.1">
                  <p:embed/>
                </p:oleObj>
              </mc:Choice>
              <mc:Fallback>
                <p:oleObj name="think-cell Folie" r:id="rId18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250" b="0" i="0" baseline="0" dirty="0">
              <a:latin typeface="voestalpine Light" panose="020B0300030000000000" pitchFamily="34" charset="0"/>
              <a:ea typeface="+mj-ea"/>
              <a:cs typeface="+mj-cs"/>
              <a:sym typeface="voestalpine Light" panose="020B0300030000000000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76227" y="1653201"/>
            <a:ext cx="8609237" cy="297603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Er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58643" y="246666"/>
            <a:ext cx="8626820" cy="101388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cxnSp>
        <p:nvCxnSpPr>
          <p:cNvPr id="12" name="Gerade Verbindung 18"/>
          <p:cNvCxnSpPr/>
          <p:nvPr/>
        </p:nvCxnSpPr>
        <p:spPr>
          <a:xfrm>
            <a:off x="248750" y="1279980"/>
            <a:ext cx="8640000" cy="0"/>
          </a:xfrm>
          <a:prstGeom prst="line">
            <a:avLst/>
          </a:prstGeom>
          <a:ln w="19050">
            <a:solidFill>
              <a:srgbClr val="0082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umsplatzhalter 3"/>
          <p:cNvSpPr>
            <a:spLocks noGrp="1"/>
          </p:cNvSpPr>
          <p:nvPr>
            <p:ph type="dt" sz="half" idx="2"/>
          </p:nvPr>
        </p:nvSpPr>
        <p:spPr>
          <a:xfrm>
            <a:off x="539634" y="6340855"/>
            <a:ext cx="592595" cy="273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r>
              <a:rPr lang="sv-SE"/>
              <a:t>Mai, 2021</a:t>
            </a:r>
            <a:endParaRPr lang="en-US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23852" y="6340855"/>
            <a:ext cx="214312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  <a:latin typeface="voestalpine" panose="020B0500030000000000" pitchFamily="34" charset="0"/>
              </a:defRPr>
            </a:lvl1pPr>
          </a:lstStyle>
          <a:p>
            <a:fld id="{A7CD581C-92E0-41C6-BF48-DFCAD6021EE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2" descr="C:\Users\reibenm\Desktop\Marke\Markenphase VIIII\Markenprozess\Corporate Design\Erste Umsetzungen\Vorlagen neu\Unterlagen Grafik für ppt\v_S_PP.jpg"/>
          <p:cNvPicPr>
            <a:picLocks noChangeAspect="1" noChangeArrowheads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91507" y="5961938"/>
            <a:ext cx="2104218" cy="89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3601" y="244800"/>
            <a:ext cx="1684033" cy="10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048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</p:sldLayoutIdLst>
  <p:hf hdr="0" dt="0"/>
  <p:txStyles>
    <p:titleStyle>
      <a:lvl1pPr algn="l" defTabSz="685800" rtl="0" eaLnBrk="1" fontAlgn="base" latinLnBrk="0" hangingPunct="1">
        <a:spcBef>
          <a:spcPct val="0"/>
        </a:spcBef>
        <a:spcAft>
          <a:spcPct val="0"/>
        </a:spcAft>
        <a:buNone/>
        <a:defRPr lang="en-US" sz="2250" kern="1200" noProof="0" dirty="0">
          <a:solidFill>
            <a:schemeClr val="tx2"/>
          </a:solidFill>
          <a:latin typeface="voestalpine Light" panose="020B0300030000000000" pitchFamily="34" charset="0"/>
          <a:ea typeface="+mj-ea"/>
          <a:cs typeface="+mj-cs"/>
        </a:defRPr>
      </a:lvl1pPr>
    </p:titleStyle>
    <p:bodyStyle>
      <a:lvl1pPr marL="0" indent="0" algn="l" defTabSz="685800" rtl="0" eaLnBrk="1" fontAlgn="base" latinLnBrk="0" hangingPunct="1">
        <a:lnSpc>
          <a:spcPct val="105000"/>
        </a:lnSpc>
        <a:spcBef>
          <a:spcPct val="0"/>
        </a:spcBef>
        <a:spcAft>
          <a:spcPct val="0"/>
        </a:spcAft>
        <a:buClr>
          <a:srgbClr val="1D314E"/>
        </a:buClr>
        <a:buFont typeface="voestalpine" panose="020B0500030000000000" pitchFamily="34" charset="0"/>
        <a:buNone/>
        <a:defRPr lang="en-US" sz="1500" kern="1200" noProof="0" dirty="0" smtClean="0">
          <a:solidFill>
            <a:schemeClr val="tx1"/>
          </a:solidFill>
          <a:latin typeface="voestalpine Light" panose="020B0300030000000000" pitchFamily="34" charset="0"/>
          <a:ea typeface="+mn-ea"/>
          <a:cs typeface="+mn-cs"/>
        </a:defRPr>
      </a:lvl1pPr>
      <a:lvl2pPr marL="264600" indent="-264600" algn="l" defTabSz="685800" rtl="0" eaLnBrk="1" fontAlgn="base" latinLnBrk="0" hangingPunct="1">
        <a:lnSpc>
          <a:spcPct val="105000"/>
        </a:lnSpc>
        <a:spcBef>
          <a:spcPct val="0"/>
        </a:spcBef>
        <a:spcAft>
          <a:spcPct val="0"/>
        </a:spcAft>
        <a:buClr>
          <a:srgbClr val="1D314E"/>
        </a:buClr>
        <a:buSzPct val="80000"/>
        <a:buFont typeface="voestalpine" panose="020B0500030000000000" pitchFamily="34" charset="0"/>
        <a:buChar char="»"/>
        <a:defRPr lang="en-US" sz="1500" kern="1200" noProof="0" dirty="0" smtClean="0">
          <a:solidFill>
            <a:schemeClr val="tx1"/>
          </a:solidFill>
          <a:latin typeface="voestalpine Light" panose="020B0300030000000000" pitchFamily="34" charset="0"/>
          <a:ea typeface="+mn-ea"/>
          <a:cs typeface="+mn-cs"/>
        </a:defRPr>
      </a:lvl2pPr>
      <a:lvl3pPr marL="477900" indent="-213300" algn="l" defTabSz="685800" rtl="0" eaLnBrk="1" fontAlgn="base" latinLnBrk="0" hangingPunct="1">
        <a:lnSpc>
          <a:spcPct val="105000"/>
        </a:lnSpc>
        <a:spcBef>
          <a:spcPct val="0"/>
        </a:spcBef>
        <a:spcAft>
          <a:spcPct val="0"/>
        </a:spcAft>
        <a:buClr>
          <a:srgbClr val="1D314E"/>
        </a:buClr>
        <a:buSzPct val="80000"/>
        <a:buFont typeface="voestalpine" panose="020B0500030000000000" pitchFamily="34" charset="0"/>
        <a:buChar char="»"/>
        <a:defRPr lang="en-US" sz="1350" kern="1200" noProof="0" dirty="0" smtClean="0">
          <a:solidFill>
            <a:schemeClr val="tx1"/>
          </a:solidFill>
          <a:latin typeface="voestalpine Light" panose="020B0300030000000000" pitchFamily="34" charset="0"/>
          <a:ea typeface="+mn-ea"/>
          <a:cs typeface="+mn-cs"/>
        </a:defRPr>
      </a:lvl3pPr>
      <a:lvl4pPr marL="677700" indent="-198835" algn="l" defTabSz="685800" rtl="0" eaLnBrk="1" fontAlgn="base" latinLnBrk="0" hangingPunct="1">
        <a:lnSpc>
          <a:spcPct val="105000"/>
        </a:lnSpc>
        <a:spcBef>
          <a:spcPct val="0"/>
        </a:spcBef>
        <a:spcAft>
          <a:spcPct val="0"/>
        </a:spcAft>
        <a:buClr>
          <a:srgbClr val="1D314E"/>
        </a:buClr>
        <a:buSzPct val="80000"/>
        <a:buFont typeface="voestalpine" panose="020B0500030000000000" pitchFamily="34" charset="0"/>
        <a:buChar char="»"/>
        <a:defRPr lang="en-US" sz="1200" kern="1200" noProof="0" dirty="0" smtClean="0">
          <a:solidFill>
            <a:schemeClr val="tx1"/>
          </a:solidFill>
          <a:latin typeface="voestalpine Light" panose="020B0300030000000000" pitchFamily="34" charset="0"/>
          <a:ea typeface="+mn-ea"/>
          <a:cs typeface="+mn-cs"/>
        </a:defRPr>
      </a:lvl4pPr>
      <a:lvl5pPr marL="677700" indent="-199800" algn="l" defTabSz="685800" rtl="0" eaLnBrk="1" fontAlgn="base" latinLnBrk="0" hangingPunct="1">
        <a:lnSpc>
          <a:spcPct val="105000"/>
        </a:lnSpc>
        <a:spcBef>
          <a:spcPct val="0"/>
        </a:spcBef>
        <a:spcAft>
          <a:spcPct val="0"/>
        </a:spcAft>
        <a:buClr>
          <a:srgbClr val="1D314E"/>
        </a:buClr>
        <a:buSzPct val="80000"/>
        <a:buFont typeface="voestalpine" panose="020B0500030000000000" pitchFamily="34" charset="0"/>
        <a:buChar char="»"/>
        <a:defRPr lang="en-US" sz="1500" kern="1200" noProof="0" dirty="0">
          <a:solidFill>
            <a:schemeClr val="tx1"/>
          </a:solidFill>
          <a:latin typeface="voestalpine" panose="020B0500030000000000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6" hidden="1">
            <a:extLst>
              <a:ext uri="{FF2B5EF4-FFF2-40B4-BE49-F238E27FC236}">
                <a16:creationId xmlns:a16="http://schemas.microsoft.com/office/drawing/2014/main" id="{F22FFBC8-290B-457B-A504-E98952415549}"/>
              </a:ext>
            </a:extLst>
          </p:cNvPr>
          <p:cNvGraphicFramePr/>
          <p:nvPr/>
        </p:nvGraphicFramePr>
        <p:xfrm>
          <a:off x="1591" y="2122"/>
          <a:ext cx="1591" cy="21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8" imgW="8389" imgH="8389" progId="">
                  <p:embed/>
                </p:oleObj>
              </mc:Choice>
              <mc:Fallback>
                <p:oleObj r:id="rId28" imgW="8389" imgH="8389" progId="">
                  <p:embed/>
                  <p:pic>
                    <p:nvPicPr>
                      <p:cNvPr id="2" name="Objekt 6" hidden="1">
                        <a:extLst>
                          <a:ext uri="{FF2B5EF4-FFF2-40B4-BE49-F238E27FC236}">
                            <a16:creationId xmlns:a16="http://schemas.microsoft.com/office/drawing/2014/main" id="{F22FFBC8-290B-457B-A504-E98952415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2122"/>
                        <a:ext cx="1591" cy="21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platzhalter 1">
            <a:extLst>
              <a:ext uri="{FF2B5EF4-FFF2-40B4-BE49-F238E27FC236}">
                <a16:creationId xmlns:a16="http://schemas.microsoft.com/office/drawing/2014/main" id="{5E991531-9544-E704-2E75-81EC4CF895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91" y="203197"/>
            <a:ext cx="6049963" cy="121279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rmAutofit/>
          </a:bodyPr>
          <a:lstStyle/>
          <a:p>
            <a:pPr lvl="0"/>
            <a:r>
              <a:rPr lang="de-AT"/>
              <a:t>Edit title master format by clicking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8E433ED0-2429-7C79-F385-FE3C157C510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55590" y="1704003"/>
            <a:ext cx="8635998" cy="394106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lvl="0"/>
            <a:r>
              <a:rPr lang="de-AT"/>
              <a:t>Edit text master format</a:t>
            </a:r>
          </a:p>
          <a:p>
            <a:pPr lvl="1"/>
            <a:r>
              <a:rPr lang="de-AT"/>
              <a:t>First level</a:t>
            </a:r>
          </a:p>
          <a:p>
            <a:pPr lvl="2"/>
            <a:r>
              <a:rPr lang="de-AT"/>
              <a:t>Second level</a:t>
            </a:r>
          </a:p>
          <a:p>
            <a:pPr lvl="3"/>
            <a:r>
              <a:rPr lang="de-AT"/>
              <a:t>Third level</a:t>
            </a:r>
          </a:p>
          <a:p>
            <a:pPr lvl="4"/>
            <a:endParaRPr lang="de-AT"/>
          </a:p>
          <a:p>
            <a:pPr lvl="4"/>
            <a:endParaRPr lang="de-AT"/>
          </a:p>
          <a:p>
            <a:pPr lvl="4"/>
            <a:endParaRPr lang="de-AT"/>
          </a:p>
        </p:txBody>
      </p:sp>
      <p:pic>
        <p:nvPicPr>
          <p:cNvPr id="5" name="Picture 2" descr="C:\Users\reibenm\Desktop\Marke\Markenphase VIIII\Markenprozess\Corporate Design\Erste Umsetzungen\Vorlagen neu\Unterlagen Grafik für ppt\v_S_PP.jpg">
            <a:extLst>
              <a:ext uri="{FF2B5EF4-FFF2-40B4-BE49-F238E27FC236}">
                <a16:creationId xmlns:a16="http://schemas.microsoft.com/office/drawing/2014/main" id="{A9E5E075-7C20-83D5-3754-5DFE2B543EC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13328" y="5695167"/>
            <a:ext cx="2730677" cy="116283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432F91-2DF7-D551-7230-07F3D9AFB92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256112" y="6277329"/>
            <a:ext cx="285752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noAutofit/>
          </a:bodyPr>
          <a:lstStyle>
            <a:lvl1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de-AT" sz="900" b="0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defRPr>
            </a:lvl1pPr>
          </a:lstStyle>
          <a:p>
            <a:pPr lvl="0"/>
            <a:fld id="{440E26DA-336B-4D01-929C-CB5627F51C19}" type="slidenum">
              <a:t>‹#›</a:t>
            </a:fld>
            <a:endParaRPr lang="de-AT"/>
          </a:p>
        </p:txBody>
      </p:sp>
      <p:sp>
        <p:nvSpPr>
          <p:cNvPr id="7" name="Textfeld 8">
            <a:extLst>
              <a:ext uri="{FF2B5EF4-FFF2-40B4-BE49-F238E27FC236}">
                <a16:creationId xmlns:a16="http://schemas.microsoft.com/office/drawing/2014/main" id="{C71EE07B-EE5F-DBA2-B4D7-5599D90BFC39}"/>
              </a:ext>
            </a:extLst>
          </p:cNvPr>
          <p:cNvSpPr txBox="1"/>
          <p:nvPr/>
        </p:nvSpPr>
        <p:spPr>
          <a:xfrm>
            <a:off x="256111" y="6103355"/>
            <a:ext cx="5887511" cy="1692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AT" sz="1100" b="1" i="0" u="none" strike="noStrike" kern="1200" cap="none" spc="0" baseline="0">
                <a:solidFill>
                  <a:srgbClr val="333333"/>
                </a:solidFill>
                <a:uFillTx/>
                <a:latin typeface="voestalpine" pitchFamily="34"/>
              </a:rPr>
              <a:t>voestalpine Böhler Welding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D6E48631-B559-B6C8-5450-A534D223E72A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543785" y="6280245"/>
            <a:ext cx="1251344" cy="3661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lvl1pPr marL="0" marR="0" lvl="0" indent="0" algn="ctr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de-AT" sz="900" b="0" i="0" u="none" strike="noStrike" kern="1200" cap="none" spc="0" baseline="0">
                <a:solidFill>
                  <a:srgbClr val="333333"/>
                </a:solidFill>
                <a:uFillTx/>
                <a:latin typeface="voestalpine"/>
              </a:defRPr>
            </a:lvl1pPr>
          </a:lstStyle>
          <a:p>
            <a:pPr lvl="0"/>
            <a:fld id="{91F396D6-A298-4ABF-806D-0B53DBE2000E}" type="datetime1">
              <a:rPr lang="de-AT"/>
              <a:pPr lvl="0"/>
              <a:t>24.10.2024</a:t>
            </a:fld>
            <a:endParaRPr lang="de-AT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7029899-ACE0-12AD-F835-018A0BBBD9AB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1965331" y="6285210"/>
            <a:ext cx="3086100" cy="36618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l" defTabSz="6858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de-AT" sz="900" b="0" i="0" u="none" strike="noStrike" kern="1200" cap="none" spc="0" baseline="0">
                <a:solidFill>
                  <a:srgbClr val="333333"/>
                </a:solidFill>
                <a:uFillTx/>
                <a:latin typeface="voestalpine"/>
              </a:defRPr>
            </a:lvl1pPr>
          </a:lstStyle>
          <a:p>
            <a:pPr lvl="0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4648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</p:sldLayoutIdLst>
  <p:txStyles>
    <p:titleStyle>
      <a:lvl1pPr marL="0" marR="0" lvl="0" indent="0" algn="l" defTabSz="914377" rtl="0" fontAlgn="auto" hangingPunct="1">
        <a:lnSpc>
          <a:spcPct val="100000"/>
        </a:lnSpc>
        <a:spcBef>
          <a:spcPts val="0"/>
        </a:spcBef>
        <a:spcAft>
          <a:spcPts val="0"/>
        </a:spcAft>
        <a:buNone/>
        <a:tabLst/>
        <a:defRPr lang="de-AT" sz="2200" b="0" i="0" u="none" strike="noStrike" kern="1200" cap="none" spc="0" baseline="0">
          <a:solidFill>
            <a:srgbClr val="1D314E"/>
          </a:solidFill>
          <a:uFillTx/>
          <a:latin typeface="voestalpine" pitchFamily="34"/>
        </a:defRPr>
      </a:lvl1pPr>
    </p:titleStyle>
    <p:bodyStyle>
      <a:lvl1pPr marL="269993" marR="0" lvl="0" indent="-269993" algn="l" defTabSz="914377" rtl="0" fontAlgn="auto" hangingPunct="1">
        <a:lnSpc>
          <a:spcPct val="105000"/>
        </a:lnSpc>
        <a:spcBef>
          <a:spcPts val="0"/>
        </a:spcBef>
        <a:spcAft>
          <a:spcPts val="0"/>
        </a:spcAft>
        <a:buClr>
          <a:srgbClr val="1D314E"/>
        </a:buClr>
        <a:buSzPct val="100000"/>
        <a:buFont typeface="voestalpine" pitchFamily="34"/>
        <a:buChar char="»"/>
        <a:tabLst/>
        <a:defRPr lang="de-AT" sz="1600" b="0" i="0" u="none" strike="noStrike" kern="1200" cap="none" spc="0" baseline="0">
          <a:solidFill>
            <a:srgbClr val="333333"/>
          </a:solidFill>
          <a:uFillTx/>
          <a:latin typeface="voestalpine" pitchFamily="34"/>
        </a:defRPr>
      </a:lvl1pPr>
      <a:lvl2pPr marL="269993" marR="0" lvl="1" indent="-269993" algn="l" defTabSz="914377" rtl="0" fontAlgn="auto" hangingPunct="1">
        <a:lnSpc>
          <a:spcPct val="105000"/>
        </a:lnSpc>
        <a:spcBef>
          <a:spcPts val="0"/>
        </a:spcBef>
        <a:spcAft>
          <a:spcPts val="0"/>
        </a:spcAft>
        <a:buClr>
          <a:srgbClr val="1D314E"/>
        </a:buClr>
        <a:buSzPct val="100000"/>
        <a:buFont typeface="voestalpine" pitchFamily="34"/>
        <a:buChar char="»"/>
        <a:tabLst>
          <a:tab pos="359990" algn="l"/>
        </a:tabLst>
        <a:defRPr lang="de-AT" sz="1600" b="0" i="0" u="none" strike="noStrike" kern="1200" cap="none" spc="0" baseline="0">
          <a:solidFill>
            <a:srgbClr val="333333"/>
          </a:solidFill>
          <a:uFillTx/>
          <a:latin typeface="voestalpine" pitchFamily="34"/>
        </a:defRPr>
      </a:lvl2pPr>
      <a:lvl3pPr marL="539985" marR="0" lvl="2" indent="-269993" algn="l" defTabSz="914377" rtl="0" fontAlgn="auto" hangingPunct="1">
        <a:lnSpc>
          <a:spcPct val="105000"/>
        </a:lnSpc>
        <a:spcBef>
          <a:spcPts val="0"/>
        </a:spcBef>
        <a:spcAft>
          <a:spcPts val="0"/>
        </a:spcAft>
        <a:buClr>
          <a:srgbClr val="1D314E"/>
        </a:buClr>
        <a:buSzPct val="100000"/>
        <a:buFont typeface="voestalpine" pitchFamily="34"/>
        <a:buChar char="»"/>
        <a:tabLst>
          <a:tab pos="719980" algn="l"/>
        </a:tabLst>
        <a:defRPr lang="de-AT" sz="1400" b="0" i="0" u="none" strike="noStrike" kern="1200" cap="none" spc="0" baseline="0">
          <a:solidFill>
            <a:srgbClr val="333333"/>
          </a:solidFill>
          <a:uFillTx/>
          <a:latin typeface="voestalpine" pitchFamily="34"/>
        </a:defRPr>
      </a:lvl3pPr>
      <a:lvl4pPr marL="809978" marR="0" lvl="3" indent="-269993" algn="l" defTabSz="914377" rtl="0" fontAlgn="auto" hangingPunct="1">
        <a:lnSpc>
          <a:spcPct val="105000"/>
        </a:lnSpc>
        <a:spcBef>
          <a:spcPts val="0"/>
        </a:spcBef>
        <a:spcAft>
          <a:spcPts val="0"/>
        </a:spcAft>
        <a:buClr>
          <a:srgbClr val="1D314E"/>
        </a:buClr>
        <a:buSzPct val="100000"/>
        <a:buFont typeface="voestalpine" pitchFamily="34"/>
        <a:buChar char="»"/>
        <a:tabLst>
          <a:tab pos="1079970" algn="l"/>
        </a:tabLst>
        <a:defRPr lang="de-AT" sz="1200" b="0" i="0" u="none" strike="noStrike" kern="1200" cap="none" spc="0" baseline="0">
          <a:solidFill>
            <a:srgbClr val="333333"/>
          </a:solidFill>
          <a:uFillTx/>
          <a:latin typeface="voestalpine" pitchFamily="34"/>
        </a:defRPr>
      </a:lvl4pPr>
      <a:lvl5pPr marL="1079970" marR="0" lvl="4" indent="-269993" algn="l" defTabSz="914377" rtl="0" fontAlgn="auto" hangingPunct="1">
        <a:lnSpc>
          <a:spcPct val="105000"/>
        </a:lnSpc>
        <a:spcBef>
          <a:spcPts val="0"/>
        </a:spcBef>
        <a:spcAft>
          <a:spcPts val="0"/>
        </a:spcAft>
        <a:buClr>
          <a:srgbClr val="1D314E"/>
        </a:buClr>
        <a:buSzPct val="100000"/>
        <a:buFont typeface="voestalpine" pitchFamily="34"/>
        <a:buChar char="»"/>
        <a:tabLst/>
        <a:defRPr lang="de-AT" sz="1400" b="0" i="0" u="none" strike="noStrike" kern="1200" cap="none" spc="0" baseline="0">
          <a:solidFill>
            <a:srgbClr val="333333"/>
          </a:solidFill>
          <a:uFillTx/>
          <a:latin typeface="voestalpine" pitchFamily="34"/>
        </a:defRPr>
      </a:lvl5pPr>
      <a:lvl6pPr marL="1079970" marR="0" lvl="4" indent="-269993" algn="l" defTabSz="914377" rtl="0" fontAlgn="auto" hangingPunct="1">
        <a:lnSpc>
          <a:spcPct val="105000"/>
        </a:lnSpc>
        <a:spcBef>
          <a:spcPts val="0"/>
        </a:spcBef>
        <a:spcAft>
          <a:spcPts val="0"/>
        </a:spcAft>
        <a:buClr>
          <a:srgbClr val="1D314E"/>
        </a:buClr>
        <a:buSzPct val="100000"/>
        <a:buFont typeface="voestalpine" pitchFamily="34"/>
        <a:buChar char="»"/>
        <a:tabLst/>
        <a:defRPr lang="de-AT" sz="1400" b="0" i="0" u="none" strike="noStrike" kern="1200" cap="none" spc="0" baseline="0">
          <a:solidFill>
            <a:srgbClr val="333333"/>
          </a:solidFill>
          <a:uFillTx/>
          <a:latin typeface="voestalpine" pitchFamily="34"/>
        </a:defRPr>
      </a:lvl6pPr>
      <a:lvl7pPr marL="1079970" marR="0" lvl="4" indent="-269993" algn="l" defTabSz="914377" rtl="0" fontAlgn="auto" hangingPunct="1">
        <a:lnSpc>
          <a:spcPct val="105000"/>
        </a:lnSpc>
        <a:spcBef>
          <a:spcPts val="0"/>
        </a:spcBef>
        <a:spcAft>
          <a:spcPts val="0"/>
        </a:spcAft>
        <a:buClr>
          <a:srgbClr val="1D314E"/>
        </a:buClr>
        <a:buSzPct val="100000"/>
        <a:buFont typeface="voestalpine" pitchFamily="34"/>
        <a:buChar char="»"/>
        <a:tabLst/>
        <a:defRPr lang="de-AT" sz="1400" b="0" i="0" u="none" strike="noStrike" kern="1200" cap="none" spc="0" baseline="0">
          <a:solidFill>
            <a:srgbClr val="333333"/>
          </a:solidFill>
          <a:uFillTx/>
          <a:latin typeface="voestalpine" pitchFamily="34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13" Type="http://schemas.openxmlformats.org/officeDocument/2006/relationships/image" Target="../media/image69.jpe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32.emf"/><Relationship Id="rId12" Type="http://schemas.openxmlformats.org/officeDocument/2006/relationships/image" Target="../media/image68.jpe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oleObject" Target="../embeddings/oleObject44.bin"/><Relationship Id="rId11" Type="http://schemas.openxmlformats.org/officeDocument/2006/relationships/image" Target="../media/image67.jpeg"/><Relationship Id="rId5" Type="http://schemas.openxmlformats.org/officeDocument/2006/relationships/image" Target="../media/image63.jpeg"/><Relationship Id="rId10" Type="http://schemas.openxmlformats.org/officeDocument/2006/relationships/image" Target="../media/image66.jpeg"/><Relationship Id="rId4" Type="http://schemas.openxmlformats.org/officeDocument/2006/relationships/image" Target="../media/image62.jpeg"/><Relationship Id="rId9" Type="http://schemas.openxmlformats.org/officeDocument/2006/relationships/image" Target="../media/image6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82.xml"/><Relationship Id="rId5" Type="http://schemas.openxmlformats.org/officeDocument/2006/relationships/image" Target="../media/image70.png"/><Relationship Id="rId4" Type="http://schemas.openxmlformats.org/officeDocument/2006/relationships/image" Target="../media/image4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83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4" Type="http://schemas.openxmlformats.org/officeDocument/2006/relationships/image" Target="../media/image4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84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4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85.xml"/><Relationship Id="rId5" Type="http://schemas.openxmlformats.org/officeDocument/2006/relationships/image" Target="../media/image75.png"/><Relationship Id="rId4" Type="http://schemas.openxmlformats.org/officeDocument/2006/relationships/image" Target="../media/image4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79.png"/><Relationship Id="rId4" Type="http://schemas.openxmlformats.org/officeDocument/2006/relationships/image" Target="../media/image7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openxmlformats.org/officeDocument/2006/relationships/oleObject" Target="../embeddings/oleObject49.bin"/><Relationship Id="rId7" Type="http://schemas.openxmlformats.org/officeDocument/2006/relationships/image" Target="../media/image82.jpeg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86.xml"/><Relationship Id="rId6" Type="http://schemas.openxmlformats.org/officeDocument/2006/relationships/image" Target="../media/image81.jpeg"/><Relationship Id="rId5" Type="http://schemas.openxmlformats.org/officeDocument/2006/relationships/image" Target="../media/image80.jpeg"/><Relationship Id="rId4" Type="http://schemas.openxmlformats.org/officeDocument/2006/relationships/image" Target="../media/image4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8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4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88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5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87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7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91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7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7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31B332B8-3497-7DFC-5F7F-A9AAE71DB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7A7F21-6994-46F9-9560-5C7070301530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CE33996A-3895-4A0A-101B-8C03836EBD0E}"/>
              </a:ext>
            </a:extLst>
          </p:cNvPr>
          <p:cNvSpPr txBox="1">
            <a:spLocks/>
          </p:cNvSpPr>
          <p:nvPr/>
        </p:nvSpPr>
        <p:spPr>
          <a:xfrm>
            <a:off x="323852" y="4755641"/>
            <a:ext cx="214312" cy="205383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10" name="Obraz 9" descr="Obraz zawierający niebo, chmura, na wolnym powietrzu, budynek&#10;&#10;Opis wygenerowany automatycznie">
            <a:extLst>
              <a:ext uri="{FF2B5EF4-FFF2-40B4-BE49-F238E27FC236}">
                <a16:creationId xmlns:a16="http://schemas.microsoft.com/office/drawing/2014/main" id="{5E127DB7-E3EB-7940-E842-2C7C3869F7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55" y="109537"/>
            <a:ext cx="8004013" cy="4541003"/>
          </a:xfrm>
          <a:prstGeom prst="rect">
            <a:avLst/>
          </a:prstGeom>
        </p:spPr>
      </p:pic>
      <p:sp>
        <p:nvSpPr>
          <p:cNvPr id="11" name="pole tekstowe 10">
            <a:extLst>
              <a:ext uri="{FF2B5EF4-FFF2-40B4-BE49-F238E27FC236}">
                <a16:creationId xmlns:a16="http://schemas.microsoft.com/office/drawing/2014/main" id="{BD7502C9-9E85-D089-1BF4-BA0FB0C96D9C}"/>
              </a:ext>
            </a:extLst>
          </p:cNvPr>
          <p:cNvSpPr txBox="1"/>
          <p:nvPr/>
        </p:nvSpPr>
        <p:spPr>
          <a:xfrm>
            <a:off x="240224" y="4843220"/>
            <a:ext cx="82141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>
                <a:latin typeface="voestalpine Light" panose="020B0300030000000000" pitchFamily="34" charset="-18"/>
              </a:rPr>
              <a:t>Chemia do trawienia i pasywacji dla profesjonalistów</a:t>
            </a:r>
          </a:p>
          <a:p>
            <a:endParaRPr lang="pl-PL" dirty="0">
              <a:latin typeface="voestalpine Light" panose="020B0300030000000000" pitchFamily="34" charset="-18"/>
            </a:endParaRPr>
          </a:p>
          <a:p>
            <a:r>
              <a:rPr lang="pl-PL" dirty="0">
                <a:latin typeface="voestalpine Light" panose="020B0300030000000000" pitchFamily="34" charset="-18"/>
              </a:rPr>
              <a:t>29.10.2024, Centrum Konferencyjne Stadionu Śląskiego, Chorzów</a:t>
            </a:r>
            <a:endParaRPr lang="en-US" dirty="0">
              <a:latin typeface="voestalpine Light" panose="020B0300030000000000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23357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9"/>
            <a:ext cx="7651750" cy="520827"/>
          </a:xfrm>
        </p:spPr>
        <p:txBody>
          <a:bodyPr/>
          <a:lstStyle/>
          <a:p>
            <a:pPr algn="ctr"/>
            <a:r>
              <a:rPr lang="pl-PL" dirty="0">
                <a:latin typeface="voestalpine Light" panose="020B0300030000000000" pitchFamily="34" charset="-18"/>
              </a:rPr>
              <a:t>ETAP III – Pasywacja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4"/>
          </p:nvPr>
        </p:nvSpPr>
        <p:spPr>
          <a:xfrm>
            <a:off x="3764450" y="981746"/>
            <a:ext cx="5127381" cy="3960812"/>
          </a:xfrm>
        </p:spPr>
        <p:txBody>
          <a:bodyPr/>
          <a:lstStyle/>
          <a:p>
            <a:pPr algn="just"/>
            <a:r>
              <a:rPr lang="pl-PL" dirty="0">
                <a:latin typeface="voestalpine Light" panose="020B0300030000000000" pitchFamily="34" charset="-18"/>
              </a:rPr>
              <a:t>Pasywacja jako ostatni etap procesu trawienia, jednak równie istotny jak poprzednie. Proces pasywacji utrwala efekt trawienia i chroni powierzchnię przed działaniem szkodliwych warunków zewnętrznych. Stal wysokostopowa sama </a:t>
            </a:r>
            <a:r>
              <a:rPr lang="pl-PL" dirty="0" err="1">
                <a:latin typeface="voestalpine Light" panose="020B0300030000000000" pitchFamily="34" charset="-18"/>
              </a:rPr>
              <a:t>możę</a:t>
            </a:r>
            <a:r>
              <a:rPr lang="pl-PL" dirty="0">
                <a:latin typeface="voestalpine Light" panose="020B0300030000000000" pitchFamily="34" charset="-18"/>
              </a:rPr>
              <a:t> wytworzyć warstwę pasywną, jednak proces trwa w zależności od sytuacji około 20 dni.</a:t>
            </a:r>
            <a:endParaRPr lang="pl-PL" b="1" dirty="0">
              <a:solidFill>
                <a:srgbClr val="FF0000"/>
              </a:solidFill>
              <a:latin typeface="voestalpine Light" panose="020B0300030000000000" pitchFamily="34" charset="-18"/>
            </a:endParaRPr>
          </a:p>
          <a:p>
            <a:pPr algn="ctr"/>
            <a:r>
              <a:rPr lang="pl-PL" b="1" dirty="0">
                <a:latin typeface="voestalpine Light" panose="020B0300030000000000" pitchFamily="34" charset="-18"/>
              </a:rPr>
              <a:t>STOSUJEMY</a:t>
            </a:r>
          </a:p>
          <a:p>
            <a:pPr algn="ctr"/>
            <a:endParaRPr lang="pl-PL" b="1" dirty="0">
              <a:latin typeface="voestalpine Light" panose="020B0300030000000000" pitchFamily="34" charset="-18"/>
            </a:endParaRPr>
          </a:p>
          <a:p>
            <a:pPr algn="just"/>
            <a:endParaRPr lang="pl-PL" dirty="0">
              <a:latin typeface="voestalpine Light" panose="020B0300030000000000" pitchFamily="34" charset="-18"/>
            </a:endParaRP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873516"/>
              </p:ext>
            </p:extLst>
          </p:nvPr>
        </p:nvGraphicFramePr>
        <p:xfrm>
          <a:off x="3511812" y="3523151"/>
          <a:ext cx="5470665" cy="139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73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03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Materia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Zastosowan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Passivator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6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Na bazie kwasu azotowego, niebezpieczny dla otoczenia i toksyczny dla środowisk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FinishOne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Passivator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6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Na bazie wody utlenionej oraz kwasu cytrynowego,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 bezpieczny dla otoczenia i nietoksyczny dla środowiska.</a:t>
                      </a:r>
                      <a:endParaRPr lang="pl-PL" sz="1100" dirty="0">
                        <a:latin typeface="voestalpine Light" panose="020B0300030000000000" pitchFamily="34" charset="-1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9" name="Obraz 8" descr="Obraz zawierający rura, cylinder, inżynieria, stal&#10;&#10;Opis wygenerowany automatycznie">
            <a:extLst>
              <a:ext uri="{FF2B5EF4-FFF2-40B4-BE49-F238E27FC236}">
                <a16:creationId xmlns:a16="http://schemas.microsoft.com/office/drawing/2014/main" id="{74925F0B-EF20-A217-D210-C0BC0EB881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837" y="3356917"/>
            <a:ext cx="2847276" cy="160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5696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9"/>
            <a:ext cx="7651750" cy="512274"/>
          </a:xfrm>
        </p:spPr>
        <p:txBody>
          <a:bodyPr/>
          <a:lstStyle/>
          <a:p>
            <a:pPr algn="ctr"/>
            <a:r>
              <a:rPr lang="pl-PL" sz="2400" dirty="0">
                <a:latin typeface="voestalpine Light" panose="020B0300030000000000" pitchFamily="34" charset="-18"/>
              </a:rPr>
              <a:t>Warstwa</a:t>
            </a:r>
            <a:r>
              <a:rPr lang="pl-PL" dirty="0">
                <a:latin typeface="voestalpine Light" panose="020B0300030000000000" pitchFamily="34" charset="-18"/>
              </a:rPr>
              <a:t> </a:t>
            </a:r>
            <a:r>
              <a:rPr lang="pl-PL" sz="2400" dirty="0" err="1">
                <a:latin typeface="voestalpine Light" panose="020B0300030000000000" pitchFamily="34" charset="-18"/>
              </a:rPr>
              <a:t>pasywująca</a:t>
            </a:r>
            <a:r>
              <a:rPr lang="pl-PL" sz="2400" dirty="0">
                <a:latin typeface="voestalpine Light" panose="020B0300030000000000" pitchFamily="34" charset="-18"/>
              </a:rPr>
              <a:t> cd.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7CC7A7-87C8-4B20-B535-FE32C46DF9C3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07" y="1075226"/>
            <a:ext cx="4010025" cy="454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ytuł 1"/>
          <p:cNvSpPr txBox="1">
            <a:spLocks/>
          </p:cNvSpPr>
          <p:nvPr/>
        </p:nvSpPr>
        <p:spPr bwMode="auto">
          <a:xfrm>
            <a:off x="4618892" y="2215662"/>
            <a:ext cx="3978030" cy="372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l-PL" sz="1800" dirty="0">
                <a:latin typeface="voestalpine Light" panose="020B0300030000000000" pitchFamily="34" charset="-18"/>
              </a:rPr>
              <a:t>Chrom jest to dość aktywny chemicznie pierwiastek. Na powietrzu reaguje z tlenem i tworzy związek tlenku chromu(III) – </a:t>
            </a:r>
            <a:r>
              <a:rPr lang="pl-PL" sz="1800" b="1" dirty="0">
                <a:latin typeface="voestalpine Light" panose="020B0300030000000000" pitchFamily="34" charset="-18"/>
              </a:rPr>
              <a:t>pasywacja</a:t>
            </a:r>
            <a:r>
              <a:rPr lang="pl-PL" sz="1800" dirty="0">
                <a:latin typeface="voestalpine Light" panose="020B0300030000000000" pitchFamily="34" charset="-18"/>
              </a:rPr>
              <a:t>. Wskutek tej ochronnej warstewki tlenku, zabezpiecza on stal nierdzewną/kwasoodporną przed niekorzystnymi warunkami zewnętrznymi.</a:t>
            </a:r>
          </a:p>
          <a:p>
            <a:endParaRPr lang="pl-PL" sz="1800" dirty="0">
              <a:latin typeface="voestalpine Light" panose="020B0300030000000000" pitchFamily="34" charset="-18"/>
            </a:endParaRPr>
          </a:p>
          <a:p>
            <a:r>
              <a:rPr lang="pl-PL" sz="1800" dirty="0">
                <a:latin typeface="voestalpine Light" panose="020B0300030000000000" pitchFamily="34" charset="-18"/>
              </a:rPr>
              <a:t>Chrom także pod wpływem stężonego kwasu azotowego(V) ulega pasywacji.</a:t>
            </a:r>
          </a:p>
        </p:txBody>
      </p:sp>
      <p:sp>
        <p:nvSpPr>
          <p:cNvPr id="9" name="Tytuł 1"/>
          <p:cNvSpPr txBox="1">
            <a:spLocks/>
          </p:cNvSpPr>
          <p:nvPr/>
        </p:nvSpPr>
        <p:spPr bwMode="auto">
          <a:xfrm>
            <a:off x="4771047" y="1539266"/>
            <a:ext cx="3825875" cy="512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pl-PL" sz="2400" dirty="0">
                <a:latin typeface="voestalpine Light" panose="020B0300030000000000" pitchFamily="34" charset="-18"/>
              </a:rPr>
              <a:t>CHROM Cr</a:t>
            </a:r>
          </a:p>
        </p:txBody>
      </p:sp>
    </p:spTree>
    <p:extLst>
      <p:ext uri="{BB962C8B-B14F-4D97-AF65-F5344CB8AC3E}">
        <p14:creationId xmlns:p14="http://schemas.microsoft.com/office/powerpoint/2010/main" val="3695320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Bildobjekt 24">
            <a:extLst>
              <a:ext uri="{FF2B5EF4-FFF2-40B4-BE49-F238E27FC236}">
                <a16:creationId xmlns:a16="http://schemas.microsoft.com/office/drawing/2014/main" id="{5528D721-AAF9-4B80-8800-6925BAA047C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6720" y="2372801"/>
            <a:ext cx="2290918" cy="2555860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AE1AF2A3-B7B9-4AEE-969D-3156EA34DF6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9410" y="1851584"/>
            <a:ext cx="843629" cy="1265196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663" imgH="664" progId="TCLayout.ActiveDocument.1">
                  <p:embed/>
                </p:oleObj>
              </mc:Choice>
              <mc:Fallback>
                <p:oleObj name="think-cell Folie" r:id="rId6" imgW="663" imgH="66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sv-SE" sz="2250" dirty="0">
              <a:solidFill>
                <a:srgbClr val="FFFFFF"/>
              </a:solidFill>
              <a:latin typeface="voestalpine Light" panose="020B0300030000000000" pitchFamily="34" charset="0"/>
              <a:sym typeface="voestalpine Light" panose="020B0300030000000000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defTabSz="914400"/>
            <a:r>
              <a:rPr lang="pl-PL" sz="3000" dirty="0">
                <a:solidFill>
                  <a:schemeClr val="tx1"/>
                </a:solidFill>
              </a:rPr>
              <a:t>Kompletne</a:t>
            </a:r>
            <a:r>
              <a:rPr lang="en-US" sz="3000" dirty="0">
                <a:solidFill>
                  <a:schemeClr val="tx1"/>
                </a:solidFill>
              </a:rPr>
              <a:t> portfolio – </a:t>
            </a:r>
            <a:r>
              <a:rPr lang="pl-PL" sz="3000" dirty="0">
                <a:solidFill>
                  <a:schemeClr val="tx1"/>
                </a:solidFill>
              </a:rPr>
              <a:t>Różne Opakowania</a:t>
            </a:r>
            <a:endParaRPr lang="en-US" sz="3000" dirty="0">
              <a:solidFill>
                <a:schemeClr val="tx1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A7CD581C-92E0-41C6-BF48-DFCAD6021EEF}" type="slidenum">
              <a:rPr lang="en-US">
                <a:solidFill>
                  <a:srgbClr val="62626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2</a:t>
            </a:fld>
            <a:endParaRPr lang="en-US" dirty="0">
              <a:solidFill>
                <a:srgbClr val="626262"/>
              </a:solidFill>
            </a:endParaRPr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id="{DA04F3D9-B95A-4139-8922-FCF1B2A0F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7561" y="1945605"/>
            <a:ext cx="1572433" cy="2510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71450" indent="-171450" defTabSz="685800" eaLnBrk="1" fontAlgn="auto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893763" algn="l"/>
              </a:tabLst>
            </a:pPr>
            <a:r>
              <a:rPr lang="en-US" sz="1400" dirty="0">
                <a:solidFill>
                  <a:srgbClr val="626262"/>
                </a:solidFill>
                <a:latin typeface="voestalpine Light" panose="020B0300030000000000" pitchFamily="34" charset="0"/>
              </a:rPr>
              <a:t>2 L-bottles</a:t>
            </a:r>
          </a:p>
          <a:p>
            <a:pPr marL="171450" indent="-171450" defTabSz="685800" eaLnBrk="1" fontAlgn="auto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893763" algn="l"/>
              </a:tabLst>
            </a:pPr>
            <a:r>
              <a:rPr lang="en-US" sz="1400" dirty="0">
                <a:solidFill>
                  <a:srgbClr val="626262"/>
                </a:solidFill>
                <a:latin typeface="voestalpine Light" panose="020B0300030000000000" pitchFamily="34" charset="0"/>
              </a:rPr>
              <a:t>10 L-drums</a:t>
            </a:r>
          </a:p>
          <a:p>
            <a:pPr marL="171450" indent="-171450" defTabSz="685800" eaLnBrk="1" fontAlgn="auto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893763" algn="l"/>
              </a:tabLst>
            </a:pPr>
            <a:r>
              <a:rPr lang="en-US" sz="1400" dirty="0">
                <a:solidFill>
                  <a:srgbClr val="626262"/>
                </a:solidFill>
                <a:latin typeface="voestalpine Light" panose="020B0300030000000000" pitchFamily="34" charset="0"/>
              </a:rPr>
              <a:t>20 L-drums</a:t>
            </a:r>
          </a:p>
          <a:p>
            <a:pPr marL="171450" indent="-171450" defTabSz="685800" eaLnBrk="1" fontAlgn="auto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893763" algn="l"/>
              </a:tabLst>
            </a:pPr>
            <a:r>
              <a:rPr lang="en-US" sz="1400" dirty="0">
                <a:solidFill>
                  <a:srgbClr val="626262"/>
                </a:solidFill>
                <a:latin typeface="voestalpine Light" panose="020B0300030000000000" pitchFamily="34" charset="0"/>
              </a:rPr>
              <a:t>25 L-drums</a:t>
            </a:r>
          </a:p>
          <a:p>
            <a:pPr marL="171450" indent="-171450" defTabSz="685800" eaLnBrk="1" fontAlgn="auto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893763" algn="l"/>
              </a:tabLst>
            </a:pPr>
            <a:r>
              <a:rPr lang="en-US" sz="1400" dirty="0">
                <a:solidFill>
                  <a:srgbClr val="626262"/>
                </a:solidFill>
                <a:latin typeface="voestalpine Light" panose="020B0300030000000000" pitchFamily="34" charset="0"/>
              </a:rPr>
              <a:t>200 L-drums</a:t>
            </a:r>
          </a:p>
          <a:p>
            <a:pPr marL="171450" indent="-171450" defTabSz="685800" eaLnBrk="1" fontAlgn="auto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893763" algn="l"/>
              </a:tabLst>
            </a:pPr>
            <a:r>
              <a:rPr lang="en-US" sz="1400" dirty="0">
                <a:solidFill>
                  <a:srgbClr val="626262"/>
                </a:solidFill>
                <a:latin typeface="voestalpine Light" panose="020B0300030000000000" pitchFamily="34" charset="0"/>
              </a:rPr>
              <a:t>1000 L-IBC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9F868B4A-4AD4-4F93-826E-9CD2BE630D6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3067" y="1916921"/>
            <a:ext cx="770838" cy="1157387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7808ECB4-67EC-4DF1-88B0-7579DE6110F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7638" y="2297130"/>
            <a:ext cx="2496312" cy="2555860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F702F6F9-A71D-4FE7-959E-22E9A2B3C6B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4471" y="4209451"/>
            <a:ext cx="960822" cy="1438423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2906A4A0-37CA-473E-97BC-AAD357ED843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0317" y="3995288"/>
            <a:ext cx="960822" cy="1438423"/>
          </a:xfrm>
          <a:prstGeom prst="rect">
            <a:avLst/>
          </a:prstGeom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id="{2856B39A-E242-44EB-B410-CDE93F81489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2259" y="2985098"/>
            <a:ext cx="647067" cy="762549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id="{ED66CB12-2928-49EA-9F07-E358E1EE5E1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1139" y="3085948"/>
            <a:ext cx="750172" cy="1123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8636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200" dirty="0">
                <a:solidFill>
                  <a:schemeClr val="tx1"/>
                </a:solidFill>
              </a:rPr>
              <a:t>Produkty wolne od </a:t>
            </a:r>
            <a:r>
              <a:rPr lang="pl-PL" sz="3200" dirty="0" err="1">
                <a:solidFill>
                  <a:schemeClr val="tx1"/>
                </a:solidFill>
              </a:rPr>
              <a:t>Nox</a:t>
            </a:r>
            <a:r>
              <a:rPr lang="pl-PL" sz="3200" dirty="0">
                <a:solidFill>
                  <a:schemeClr val="tx1"/>
                </a:solidFill>
              </a:rPr>
              <a:t> oraz </a:t>
            </a:r>
            <a:br>
              <a:rPr lang="pl-PL" sz="3200" dirty="0">
                <a:solidFill>
                  <a:schemeClr val="tx1"/>
                </a:solidFill>
              </a:rPr>
            </a:br>
            <a:r>
              <a:rPr lang="pl-PL" sz="3200" dirty="0">
                <a:solidFill>
                  <a:schemeClr val="tx1"/>
                </a:solidFill>
              </a:rPr>
              <a:t>o obniżonej emisji </a:t>
            </a:r>
            <a:r>
              <a:rPr lang="pl-PL" sz="3200" dirty="0" err="1">
                <a:solidFill>
                  <a:schemeClr val="tx1"/>
                </a:solidFill>
              </a:rPr>
              <a:t>NOx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2" y="1953208"/>
            <a:ext cx="8554810" cy="3659500"/>
          </a:xfrm>
        </p:spPr>
        <p:txBody>
          <a:bodyPr>
            <a:normAutofit/>
          </a:bodyPr>
          <a:lstStyle/>
          <a:p>
            <a:pPr marL="342900" indent="-342900" algn="just" eaLnBrk="0" fontAlgn="auto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l-PL" sz="2000" dirty="0"/>
              <a:t>jedyny dostawca produktów do trawienia, czyszczenia i pasywacji wolnych od </a:t>
            </a:r>
            <a:r>
              <a:rPr lang="pl-PL" sz="2000" dirty="0" err="1"/>
              <a:t>NOx</a:t>
            </a:r>
            <a:r>
              <a:rPr lang="pl-PL" sz="2000" dirty="0"/>
              <a:t> i o obniżonej emisji </a:t>
            </a:r>
            <a:r>
              <a:rPr lang="pl-PL" sz="2000" dirty="0" err="1"/>
              <a:t>NOx</a:t>
            </a:r>
            <a:r>
              <a:rPr lang="pl-PL" sz="2000" dirty="0"/>
              <a:t> (do 80 procent redukcji)</a:t>
            </a:r>
            <a:endParaRPr lang="en-US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A7CD581C-92E0-41C6-BF48-DFCAD6021EEF}" type="slidenum">
              <a:rPr lang="en-US">
                <a:solidFill>
                  <a:srgbClr val="62626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3</a:t>
            </a:fld>
            <a:endParaRPr lang="en-US" dirty="0">
              <a:solidFill>
                <a:srgbClr val="626262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593" y="3154681"/>
            <a:ext cx="6590454" cy="1806061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1106593" y="4960742"/>
            <a:ext cx="6667984" cy="433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900" dirty="0" err="1">
                <a:solidFill>
                  <a:srgbClr val="626262"/>
                </a:solidFill>
                <a:latin typeface="Arial"/>
                <a:sym typeface="Wingdings" panose="05000000000000000000" pitchFamily="2" charset="2"/>
              </a:rPr>
              <a:t>voestalpine</a:t>
            </a:r>
            <a:r>
              <a:rPr lang="pl-PL" sz="900" dirty="0">
                <a:solidFill>
                  <a:srgbClr val="626262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pl-PL" sz="900" dirty="0" err="1">
                <a:solidFill>
                  <a:srgbClr val="626262"/>
                </a:solidFill>
                <a:latin typeface="Arial"/>
                <a:sym typeface="Wingdings" panose="05000000000000000000" pitchFamily="2" charset="2"/>
              </a:rPr>
              <a:t>Böhler</a:t>
            </a:r>
            <a:r>
              <a:rPr lang="pl-PL" sz="900" dirty="0">
                <a:solidFill>
                  <a:srgbClr val="626262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pl-PL" sz="900" dirty="0" err="1">
                <a:solidFill>
                  <a:srgbClr val="626262"/>
                </a:solidFill>
                <a:latin typeface="Arial"/>
                <a:sym typeface="Wingdings" panose="05000000000000000000" pitchFamily="2" charset="2"/>
              </a:rPr>
              <a:t>Welding</a:t>
            </a:r>
            <a:r>
              <a:rPr lang="pl-PL" sz="900" dirty="0">
                <a:solidFill>
                  <a:srgbClr val="626262"/>
                </a:solidFill>
                <a:latin typeface="Arial"/>
                <a:sym typeface="Wingdings" panose="05000000000000000000" pitchFamily="2" charset="2"/>
              </a:rPr>
              <a:t> </a:t>
            </a:r>
            <a:r>
              <a:rPr lang="pl-PL" sz="900" dirty="0" err="1">
                <a:solidFill>
                  <a:srgbClr val="626262"/>
                </a:solidFill>
                <a:latin typeface="Arial"/>
                <a:sym typeface="Wingdings" panose="05000000000000000000" pitchFamily="2" charset="2"/>
              </a:rPr>
              <a:t>Pickling</a:t>
            </a:r>
            <a:r>
              <a:rPr lang="pl-PL" sz="900" dirty="0">
                <a:solidFill>
                  <a:srgbClr val="626262"/>
                </a:solidFill>
                <a:latin typeface="Arial"/>
                <a:sym typeface="Wingdings" panose="05000000000000000000" pitchFamily="2" charset="2"/>
              </a:rPr>
              <a:t> Spray 240 (po lewej) i produkt konkurencji (przestrzeń zamknięta). Różnica po 9 minutach pod względem powstawania oparów kwasu jest widoczna.</a:t>
            </a:r>
            <a:endParaRPr lang="en-US" sz="900" dirty="0">
              <a:solidFill>
                <a:srgbClr val="626262"/>
              </a:solidFill>
              <a:latin typeface="Arial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E366B52-E46E-4F8F-8F29-54E5F18E72C6}"/>
              </a:ext>
            </a:extLst>
          </p:cNvPr>
          <p:cNvSpPr txBox="1"/>
          <p:nvPr/>
        </p:nvSpPr>
        <p:spPr>
          <a:xfrm>
            <a:off x="1029063" y="2914170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Laboratory test (Malmö Factory, 2021):</a:t>
            </a:r>
          </a:p>
        </p:txBody>
      </p:sp>
    </p:spTree>
    <p:extLst>
      <p:ext uri="{BB962C8B-B14F-4D97-AF65-F5344CB8AC3E}">
        <p14:creationId xmlns:p14="http://schemas.microsoft.com/office/powerpoint/2010/main" val="20344206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200" dirty="0">
                <a:solidFill>
                  <a:schemeClr val="tx1"/>
                </a:solidFill>
              </a:rPr>
              <a:t>Produkty o obniżonej lub zerowej </a:t>
            </a:r>
            <a:br>
              <a:rPr lang="pl-PL" sz="3200" dirty="0">
                <a:solidFill>
                  <a:schemeClr val="tx1"/>
                </a:solidFill>
              </a:rPr>
            </a:br>
            <a:r>
              <a:rPr lang="pl-PL" sz="3200" dirty="0">
                <a:solidFill>
                  <a:schemeClr val="tx1"/>
                </a:solidFill>
              </a:rPr>
              <a:t>emisji </a:t>
            </a:r>
            <a:r>
              <a:rPr lang="pl-PL" sz="3200" dirty="0" err="1">
                <a:solidFill>
                  <a:schemeClr val="tx1"/>
                </a:solidFill>
              </a:rPr>
              <a:t>NOx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4" y="1907492"/>
            <a:ext cx="4396193" cy="3312529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l-PL" sz="2000" dirty="0"/>
              <a:t>Dlaczego produkty o zredukowanej ilości</a:t>
            </a:r>
            <a:r>
              <a:rPr lang="en-US" sz="2000" dirty="0"/>
              <a:t> NOx?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sz="1600" dirty="0">
                <a:sym typeface="Wingdings" panose="05000000000000000000" pitchFamily="2" charset="2"/>
              </a:rPr>
              <a:t>Ponieważ zapobiegają one wdychaniu przez pracowników niebezpiecznych oparów </a:t>
            </a:r>
            <a:r>
              <a:rPr lang="pl-PL" sz="1600" dirty="0" err="1">
                <a:sym typeface="Wingdings" panose="05000000000000000000" pitchFamily="2" charset="2"/>
              </a:rPr>
              <a:t>NOx</a:t>
            </a:r>
            <a:r>
              <a:rPr lang="en-US" sz="1600" dirty="0">
                <a:sym typeface="Wingdings" panose="05000000000000000000" pitchFamily="2" charset="2"/>
              </a:rPr>
              <a:t>.</a:t>
            </a:r>
            <a:endParaRPr lang="en-US" sz="1600" dirty="0"/>
          </a:p>
          <a:p>
            <a:pPr>
              <a:lnSpc>
                <a:spcPct val="150000"/>
              </a:lnSpc>
            </a:pPr>
            <a:endParaRPr lang="en-US" sz="2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A7CD581C-92E0-41C6-BF48-DFCAD6021EEF}" type="slidenum">
              <a:rPr lang="en-US">
                <a:solidFill>
                  <a:srgbClr val="62626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</a:t>
            </a:fld>
            <a:endParaRPr lang="en-US" dirty="0">
              <a:solidFill>
                <a:srgbClr val="626262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5151810" y="4878991"/>
            <a:ext cx="21964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626262"/>
                </a:solidFill>
                <a:latin typeface="Arial"/>
              </a:rPr>
              <a:t>The effects on health of NOx-fumes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4356101" y="2408446"/>
            <a:ext cx="4620607" cy="2402052"/>
            <a:chOff x="2558601" y="1326357"/>
            <a:chExt cx="4331594" cy="2122550"/>
          </a:xfrm>
        </p:grpSpPr>
        <p:sp>
          <p:nvSpPr>
            <p:cNvPr id="10" name="object 2"/>
            <p:cNvSpPr/>
            <p:nvPr/>
          </p:nvSpPr>
          <p:spPr>
            <a:xfrm>
              <a:off x="2558601" y="1798415"/>
              <a:ext cx="1328602" cy="1650492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351">
                <a:solidFill>
                  <a:srgbClr val="000000"/>
                </a:solidFill>
                <a:latin typeface="voestalpine Light"/>
              </a:endParaRPr>
            </a:p>
          </p:txBody>
        </p:sp>
        <p:sp>
          <p:nvSpPr>
            <p:cNvPr id="11" name="object 3"/>
            <p:cNvSpPr/>
            <p:nvPr/>
          </p:nvSpPr>
          <p:spPr>
            <a:xfrm>
              <a:off x="3543491" y="2729483"/>
              <a:ext cx="643890" cy="75245"/>
            </a:xfrm>
            <a:custGeom>
              <a:avLst/>
              <a:gdLst/>
              <a:ahLst/>
              <a:cxnLst/>
              <a:rect l="l" t="t" r="r" b="b"/>
              <a:pathLst>
                <a:path w="970914" h="86994">
                  <a:moveTo>
                    <a:pt x="86868" y="0"/>
                  </a:moveTo>
                  <a:lnTo>
                    <a:pt x="0" y="43433"/>
                  </a:lnTo>
                  <a:lnTo>
                    <a:pt x="86868" y="86867"/>
                  </a:lnTo>
                  <a:lnTo>
                    <a:pt x="86868" y="57911"/>
                  </a:lnTo>
                  <a:lnTo>
                    <a:pt x="72389" y="57911"/>
                  </a:lnTo>
                  <a:lnTo>
                    <a:pt x="72389" y="28956"/>
                  </a:lnTo>
                  <a:lnTo>
                    <a:pt x="86868" y="28956"/>
                  </a:lnTo>
                  <a:lnTo>
                    <a:pt x="86868" y="0"/>
                  </a:lnTo>
                  <a:close/>
                </a:path>
                <a:path w="970914" h="86994">
                  <a:moveTo>
                    <a:pt x="86868" y="28956"/>
                  </a:moveTo>
                  <a:lnTo>
                    <a:pt x="72389" y="28956"/>
                  </a:lnTo>
                  <a:lnTo>
                    <a:pt x="72389" y="57911"/>
                  </a:lnTo>
                  <a:lnTo>
                    <a:pt x="86868" y="57911"/>
                  </a:lnTo>
                  <a:lnTo>
                    <a:pt x="86868" y="28956"/>
                  </a:lnTo>
                  <a:close/>
                </a:path>
                <a:path w="970914" h="86994">
                  <a:moveTo>
                    <a:pt x="970788" y="28956"/>
                  </a:moveTo>
                  <a:lnTo>
                    <a:pt x="86868" y="28956"/>
                  </a:lnTo>
                  <a:lnTo>
                    <a:pt x="86868" y="57911"/>
                  </a:lnTo>
                  <a:lnTo>
                    <a:pt x="970788" y="57911"/>
                  </a:lnTo>
                  <a:lnTo>
                    <a:pt x="970788" y="28956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351">
                <a:solidFill>
                  <a:srgbClr val="000000"/>
                </a:solidFill>
                <a:latin typeface="voestalpine Light"/>
              </a:endParaRPr>
            </a:p>
          </p:txBody>
        </p:sp>
        <p:sp>
          <p:nvSpPr>
            <p:cNvPr id="15" name="object 5"/>
            <p:cNvSpPr/>
            <p:nvPr/>
          </p:nvSpPr>
          <p:spPr>
            <a:xfrm>
              <a:off x="3587306" y="2109311"/>
              <a:ext cx="600075" cy="65246"/>
            </a:xfrm>
            <a:custGeom>
              <a:avLst/>
              <a:gdLst/>
              <a:ahLst/>
              <a:cxnLst/>
              <a:rect l="l" t="t" r="r" b="b"/>
              <a:pathLst>
                <a:path w="800100" h="86994">
                  <a:moveTo>
                    <a:pt x="86867" y="0"/>
                  </a:moveTo>
                  <a:lnTo>
                    <a:pt x="0" y="43433"/>
                  </a:lnTo>
                  <a:lnTo>
                    <a:pt x="86867" y="86867"/>
                  </a:lnTo>
                  <a:lnTo>
                    <a:pt x="86867" y="57911"/>
                  </a:lnTo>
                  <a:lnTo>
                    <a:pt x="72389" y="57911"/>
                  </a:lnTo>
                  <a:lnTo>
                    <a:pt x="72389" y="28956"/>
                  </a:lnTo>
                  <a:lnTo>
                    <a:pt x="86867" y="28956"/>
                  </a:lnTo>
                  <a:lnTo>
                    <a:pt x="86867" y="0"/>
                  </a:lnTo>
                  <a:close/>
                </a:path>
                <a:path w="800100" h="86994">
                  <a:moveTo>
                    <a:pt x="86867" y="28956"/>
                  </a:moveTo>
                  <a:lnTo>
                    <a:pt x="72389" y="28956"/>
                  </a:lnTo>
                  <a:lnTo>
                    <a:pt x="72389" y="57911"/>
                  </a:lnTo>
                  <a:lnTo>
                    <a:pt x="86867" y="57911"/>
                  </a:lnTo>
                  <a:lnTo>
                    <a:pt x="86867" y="28956"/>
                  </a:lnTo>
                  <a:close/>
                </a:path>
                <a:path w="800100" h="86994">
                  <a:moveTo>
                    <a:pt x="800100" y="28956"/>
                  </a:moveTo>
                  <a:lnTo>
                    <a:pt x="86867" y="28956"/>
                  </a:lnTo>
                  <a:lnTo>
                    <a:pt x="86867" y="57911"/>
                  </a:lnTo>
                  <a:lnTo>
                    <a:pt x="800100" y="57911"/>
                  </a:lnTo>
                  <a:lnTo>
                    <a:pt x="800100" y="28956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351">
                <a:solidFill>
                  <a:srgbClr val="000000"/>
                </a:solidFill>
                <a:latin typeface="voestalpine Light"/>
              </a:endParaRPr>
            </a:p>
          </p:txBody>
        </p:sp>
        <p:sp>
          <p:nvSpPr>
            <p:cNvPr id="16" name="object 6"/>
            <p:cNvSpPr/>
            <p:nvPr/>
          </p:nvSpPr>
          <p:spPr>
            <a:xfrm>
              <a:off x="3543491" y="2432114"/>
              <a:ext cx="643889" cy="65246"/>
            </a:xfrm>
            <a:custGeom>
              <a:avLst/>
              <a:gdLst/>
              <a:ahLst/>
              <a:cxnLst/>
              <a:rect l="l" t="t" r="r" b="b"/>
              <a:pathLst>
                <a:path w="858520" h="86994">
                  <a:moveTo>
                    <a:pt x="86867" y="0"/>
                  </a:moveTo>
                  <a:lnTo>
                    <a:pt x="0" y="43433"/>
                  </a:lnTo>
                  <a:lnTo>
                    <a:pt x="86867" y="86868"/>
                  </a:lnTo>
                  <a:lnTo>
                    <a:pt x="86867" y="57912"/>
                  </a:lnTo>
                  <a:lnTo>
                    <a:pt x="72389" y="57912"/>
                  </a:lnTo>
                  <a:lnTo>
                    <a:pt x="72389" y="28956"/>
                  </a:lnTo>
                  <a:lnTo>
                    <a:pt x="86867" y="28956"/>
                  </a:lnTo>
                  <a:lnTo>
                    <a:pt x="86867" y="0"/>
                  </a:lnTo>
                  <a:close/>
                </a:path>
                <a:path w="858520" h="86994">
                  <a:moveTo>
                    <a:pt x="86867" y="28956"/>
                  </a:moveTo>
                  <a:lnTo>
                    <a:pt x="72389" y="28956"/>
                  </a:lnTo>
                  <a:lnTo>
                    <a:pt x="72389" y="57912"/>
                  </a:lnTo>
                  <a:lnTo>
                    <a:pt x="86867" y="57912"/>
                  </a:lnTo>
                  <a:lnTo>
                    <a:pt x="86867" y="28956"/>
                  </a:lnTo>
                  <a:close/>
                </a:path>
                <a:path w="858520" h="86994">
                  <a:moveTo>
                    <a:pt x="858012" y="28956"/>
                  </a:moveTo>
                  <a:lnTo>
                    <a:pt x="86867" y="28956"/>
                  </a:lnTo>
                  <a:lnTo>
                    <a:pt x="86867" y="57912"/>
                  </a:lnTo>
                  <a:lnTo>
                    <a:pt x="858012" y="57912"/>
                  </a:lnTo>
                  <a:lnTo>
                    <a:pt x="858012" y="28956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351">
                <a:solidFill>
                  <a:srgbClr val="000000"/>
                </a:solidFill>
                <a:latin typeface="voestalpine Light"/>
              </a:endParaRPr>
            </a:p>
          </p:txBody>
        </p:sp>
        <p:sp>
          <p:nvSpPr>
            <p:cNvPr id="17" name="object 7"/>
            <p:cNvSpPr txBox="1"/>
            <p:nvPr/>
          </p:nvSpPr>
          <p:spPr>
            <a:xfrm>
              <a:off x="4247007" y="2077116"/>
              <a:ext cx="2643188" cy="887395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defTabSz="1219170" fontAlgn="auto">
                <a:spcBef>
                  <a:spcPts val="105"/>
                </a:spcBef>
                <a:spcAft>
                  <a:spcPts val="0"/>
                </a:spcAft>
                <a:defRPr/>
              </a:pPr>
              <a:r>
                <a:rPr sz="1051" b="1" dirty="0">
                  <a:solidFill>
                    <a:srgbClr val="000000"/>
                  </a:solidFill>
                  <a:latin typeface="voestalpine" panose="020B0500030000000000" pitchFamily="34" charset="0"/>
                  <a:cs typeface="Times New Roman"/>
                </a:rPr>
                <a:t>HEADACHE,</a:t>
              </a:r>
              <a:r>
                <a:rPr sz="1051" b="1" spc="-40" dirty="0">
                  <a:solidFill>
                    <a:srgbClr val="000000"/>
                  </a:solidFill>
                  <a:latin typeface="voestalpine" panose="020B0500030000000000" pitchFamily="34" charset="0"/>
                  <a:cs typeface="Times New Roman"/>
                </a:rPr>
                <a:t> </a:t>
              </a:r>
              <a:r>
                <a:rPr sz="1051" b="1" spc="-5" dirty="0">
                  <a:solidFill>
                    <a:srgbClr val="000000"/>
                  </a:solidFill>
                  <a:latin typeface="voestalpine" panose="020B0500030000000000" pitchFamily="34" charset="0"/>
                  <a:cs typeface="Times New Roman"/>
                </a:rPr>
                <a:t>DIZZINESS</a:t>
              </a:r>
              <a:endParaRPr lang="de-AT" sz="1051" dirty="0">
                <a:solidFill>
                  <a:srgbClr val="000000"/>
                </a:solidFill>
                <a:latin typeface="voestalpine" panose="020B0500030000000000" pitchFamily="34" charset="0"/>
                <a:cs typeface="Times New Roman"/>
              </a:endParaRPr>
            </a:p>
            <a:p>
              <a:pPr marL="12700" defTabSz="1219170" fontAlgn="auto">
                <a:spcBef>
                  <a:spcPts val="105"/>
                </a:spcBef>
                <a:spcAft>
                  <a:spcPts val="0"/>
                </a:spcAft>
                <a:defRPr/>
              </a:pPr>
              <a:endParaRPr lang="de-AT" sz="1051" b="1" spc="-5" dirty="0">
                <a:solidFill>
                  <a:srgbClr val="000000"/>
                </a:solidFill>
                <a:latin typeface="Times New Roman"/>
                <a:cs typeface="Times New Roman"/>
              </a:endParaRPr>
            </a:p>
            <a:p>
              <a:pPr marL="12700" defTabSz="1219170" fontAlgn="auto">
                <a:spcBef>
                  <a:spcPts val="105"/>
                </a:spcBef>
                <a:spcAft>
                  <a:spcPts val="0"/>
                </a:spcAft>
                <a:defRPr/>
              </a:pPr>
              <a:r>
                <a:rPr sz="1051" b="1" dirty="0">
                  <a:solidFill>
                    <a:srgbClr val="000000"/>
                  </a:solidFill>
                  <a:latin typeface="voestalpine" panose="020B0500030000000000" pitchFamily="34" charset="0"/>
                  <a:cs typeface="Times New Roman"/>
                </a:rPr>
                <a:t>COUGH, RESPIRATORY DISTRESS</a:t>
              </a:r>
              <a:endParaRPr lang="de-AT" sz="1051" b="1" dirty="0">
                <a:solidFill>
                  <a:srgbClr val="000000"/>
                </a:solidFill>
                <a:latin typeface="voestalpine" panose="020B0500030000000000" pitchFamily="34" charset="0"/>
                <a:cs typeface="Times New Roman"/>
              </a:endParaRPr>
            </a:p>
            <a:p>
              <a:pPr marL="12700" defTabSz="1219170" fontAlgn="auto">
                <a:spcBef>
                  <a:spcPts val="105"/>
                </a:spcBef>
                <a:spcAft>
                  <a:spcPts val="0"/>
                </a:spcAft>
                <a:defRPr/>
              </a:pPr>
              <a:endParaRPr sz="851" dirty="0">
                <a:solidFill>
                  <a:srgbClr val="000000"/>
                </a:solidFill>
                <a:latin typeface="Times New Roman"/>
                <a:cs typeface="Times New Roman"/>
              </a:endParaRPr>
            </a:p>
            <a:p>
              <a:pPr marL="12700" defTabSz="1219170" fontAlgn="auto">
                <a:spcBef>
                  <a:spcPts val="105"/>
                </a:spcBef>
                <a:spcAft>
                  <a:spcPts val="0"/>
                </a:spcAft>
                <a:defRPr/>
              </a:pPr>
              <a:r>
                <a:rPr sz="1051" b="1" dirty="0">
                  <a:solidFill>
                    <a:srgbClr val="000000"/>
                  </a:solidFill>
                  <a:latin typeface="voestalpine" panose="020B0500030000000000" pitchFamily="34" charset="0"/>
                  <a:cs typeface="Times New Roman"/>
                </a:rPr>
                <a:t>LOWER RESISTANCE TO RESPIRATORY INFECTIONS</a:t>
              </a:r>
            </a:p>
          </p:txBody>
        </p:sp>
        <p:sp>
          <p:nvSpPr>
            <p:cNvPr id="18" name="object 8"/>
            <p:cNvSpPr txBox="1"/>
            <p:nvPr/>
          </p:nvSpPr>
          <p:spPr>
            <a:xfrm>
              <a:off x="4247007" y="3017006"/>
              <a:ext cx="1702118" cy="297687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defTabSz="1219170" fontAlgn="auto">
                <a:spcBef>
                  <a:spcPts val="105"/>
                </a:spcBef>
                <a:spcAft>
                  <a:spcPts val="0"/>
                </a:spcAft>
                <a:defRPr/>
              </a:pPr>
              <a:r>
                <a:rPr sz="1051" b="1" dirty="0">
                  <a:solidFill>
                    <a:srgbClr val="000000"/>
                  </a:solidFill>
                  <a:latin typeface="voestalpine" panose="020B0500030000000000" pitchFamily="34" charset="0"/>
                  <a:cs typeface="Times New Roman"/>
                </a:rPr>
                <a:t>IRRITATE LUNGS, LUNG OEDEMA</a:t>
              </a:r>
            </a:p>
          </p:txBody>
        </p:sp>
        <p:sp>
          <p:nvSpPr>
            <p:cNvPr id="19" name="object 9"/>
            <p:cNvSpPr/>
            <p:nvPr/>
          </p:nvSpPr>
          <p:spPr>
            <a:xfrm>
              <a:off x="3501008" y="1326357"/>
              <a:ext cx="1243584" cy="653795"/>
            </a:xfrm>
            <a:prstGeom prst="rect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351">
                <a:solidFill>
                  <a:srgbClr val="000000"/>
                </a:solidFill>
                <a:latin typeface="voestalpine Light"/>
              </a:endParaRPr>
            </a:p>
          </p:txBody>
        </p:sp>
      </p:grpSp>
      <p:sp>
        <p:nvSpPr>
          <p:cNvPr id="20" name="object 3"/>
          <p:cNvSpPr/>
          <p:nvPr/>
        </p:nvSpPr>
        <p:spPr>
          <a:xfrm>
            <a:off x="5453442" y="4395088"/>
            <a:ext cx="686852" cy="85153"/>
          </a:xfrm>
          <a:custGeom>
            <a:avLst/>
            <a:gdLst/>
            <a:ahLst/>
            <a:cxnLst/>
            <a:rect l="l" t="t" r="r" b="b"/>
            <a:pathLst>
              <a:path w="970914" h="86994">
                <a:moveTo>
                  <a:pt x="86868" y="0"/>
                </a:moveTo>
                <a:lnTo>
                  <a:pt x="0" y="43433"/>
                </a:lnTo>
                <a:lnTo>
                  <a:pt x="86868" y="86867"/>
                </a:lnTo>
                <a:lnTo>
                  <a:pt x="86868" y="57911"/>
                </a:lnTo>
                <a:lnTo>
                  <a:pt x="72389" y="57911"/>
                </a:lnTo>
                <a:lnTo>
                  <a:pt x="72389" y="28956"/>
                </a:lnTo>
                <a:lnTo>
                  <a:pt x="86868" y="28956"/>
                </a:lnTo>
                <a:lnTo>
                  <a:pt x="86868" y="0"/>
                </a:lnTo>
                <a:close/>
              </a:path>
              <a:path w="970914" h="86994">
                <a:moveTo>
                  <a:pt x="86868" y="28956"/>
                </a:moveTo>
                <a:lnTo>
                  <a:pt x="72389" y="28956"/>
                </a:lnTo>
                <a:lnTo>
                  <a:pt x="72389" y="57911"/>
                </a:lnTo>
                <a:lnTo>
                  <a:pt x="86868" y="57911"/>
                </a:lnTo>
                <a:lnTo>
                  <a:pt x="86868" y="28956"/>
                </a:lnTo>
                <a:close/>
              </a:path>
              <a:path w="970914" h="86994">
                <a:moveTo>
                  <a:pt x="970788" y="28956"/>
                </a:moveTo>
                <a:lnTo>
                  <a:pt x="86868" y="28956"/>
                </a:lnTo>
                <a:lnTo>
                  <a:pt x="86868" y="57911"/>
                </a:lnTo>
                <a:lnTo>
                  <a:pt x="970788" y="57911"/>
                </a:lnTo>
                <a:lnTo>
                  <a:pt x="970788" y="28956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sz="1351">
              <a:solidFill>
                <a:srgbClr val="000000"/>
              </a:solidFill>
              <a:latin typeface="voestalpine Light"/>
            </a:endParaRPr>
          </a:p>
        </p:txBody>
      </p:sp>
      <p:cxnSp>
        <p:nvCxnSpPr>
          <p:cNvPr id="7" name="Gerader Verbinder 6"/>
          <p:cNvCxnSpPr/>
          <p:nvPr/>
        </p:nvCxnSpPr>
        <p:spPr>
          <a:xfrm flipH="1">
            <a:off x="4572001" y="2320290"/>
            <a:ext cx="3222171" cy="3108960"/>
          </a:xfrm>
          <a:prstGeom prst="line">
            <a:avLst/>
          </a:prstGeom>
          <a:ln w="317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>
            <a:off x="4720047" y="2492375"/>
            <a:ext cx="3252801" cy="2736850"/>
          </a:xfrm>
          <a:prstGeom prst="line">
            <a:avLst/>
          </a:prstGeom>
          <a:ln w="31750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83762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200" dirty="0">
                <a:solidFill>
                  <a:schemeClr val="tx1"/>
                </a:solidFill>
              </a:rPr>
              <a:t>Produkty wolne od </a:t>
            </a:r>
            <a:r>
              <a:rPr lang="pl-PL" sz="3200" dirty="0" err="1">
                <a:solidFill>
                  <a:schemeClr val="tx1"/>
                </a:solidFill>
              </a:rPr>
              <a:t>Nox</a:t>
            </a:r>
            <a:r>
              <a:rPr lang="pl-PL" sz="3200" dirty="0">
                <a:solidFill>
                  <a:schemeClr val="tx1"/>
                </a:solidFill>
              </a:rPr>
              <a:t> oraz </a:t>
            </a:r>
            <a:br>
              <a:rPr lang="pl-PL" sz="3200" dirty="0">
                <a:solidFill>
                  <a:schemeClr val="tx1"/>
                </a:solidFill>
              </a:rPr>
            </a:br>
            <a:r>
              <a:rPr lang="pl-PL" sz="3200" dirty="0">
                <a:solidFill>
                  <a:schemeClr val="tx1"/>
                </a:solidFill>
              </a:rPr>
              <a:t>o obniżonej emisji </a:t>
            </a:r>
            <a:r>
              <a:rPr lang="pl-PL" sz="3200" dirty="0" err="1">
                <a:solidFill>
                  <a:schemeClr val="tx1"/>
                </a:solidFill>
              </a:rPr>
              <a:t>NOx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4" y="1953209"/>
            <a:ext cx="8554809" cy="3312529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l-PL" sz="2000" dirty="0"/>
              <a:t>Jak to wygląda w praktyce i w porównaniu z produktami konkurencji?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pl-PL" dirty="0">
                <a:sym typeface="Wingdings" panose="05000000000000000000" pitchFamily="2" charset="2"/>
              </a:rPr>
              <a:t>Przykład poniżej pokazuje zastosowanie dwóch produktów.</a:t>
            </a:r>
            <a:endParaRPr lang="en-US" sz="2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A7CD581C-92E0-41C6-BF48-DFCAD6021EEF}" type="slidenum">
              <a:rPr lang="en-US">
                <a:solidFill>
                  <a:srgbClr val="62626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5</a:t>
            </a:fld>
            <a:endParaRPr lang="en-US" dirty="0">
              <a:solidFill>
                <a:srgbClr val="626262"/>
              </a:solidFill>
            </a:endParaRPr>
          </a:p>
        </p:txBody>
      </p:sp>
      <p:pic>
        <p:nvPicPr>
          <p:cNvPr id="20" name="Grafik 1" descr="image005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538" y="2786571"/>
            <a:ext cx="2709015" cy="2414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hteck 20"/>
          <p:cNvSpPr/>
          <p:nvPr/>
        </p:nvSpPr>
        <p:spPr>
          <a:xfrm>
            <a:off x="1352835" y="5207569"/>
            <a:ext cx="19754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Pickling Spray </a:t>
            </a:r>
            <a:r>
              <a:rPr lang="pl-PL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konkurencji</a:t>
            </a:r>
            <a:endParaRPr lang="en-US" sz="1350" dirty="0">
              <a:solidFill>
                <a:srgbClr val="626262"/>
              </a:solidFill>
              <a:latin typeface="voestalpine Light" panose="020B0300030000000000" pitchFamily="34" charset="0"/>
            </a:endParaRPr>
          </a:p>
        </p:txBody>
      </p:sp>
      <p:pic>
        <p:nvPicPr>
          <p:cNvPr id="22" name="Grafik 2" descr="image006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3101" y="2772741"/>
            <a:ext cx="2828102" cy="2427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hteck 22"/>
          <p:cNvSpPr/>
          <p:nvPr/>
        </p:nvSpPr>
        <p:spPr>
          <a:xfrm>
            <a:off x="4210937" y="5207569"/>
            <a:ext cx="27791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AVESTA </a:t>
            </a:r>
            <a:r>
              <a:rPr lang="en-US" sz="1200" dirty="0" err="1">
                <a:solidFill>
                  <a:srgbClr val="626262"/>
                </a:solidFill>
                <a:latin typeface="voestalpine Light" panose="020B0300030000000000" pitchFamily="34" charset="0"/>
              </a:rPr>
              <a:t>RedOne</a:t>
            </a:r>
            <a:r>
              <a:rPr lang="sv-SE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™</a:t>
            </a: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 Pickling Spray 240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(voestalpine </a:t>
            </a:r>
            <a:r>
              <a:rPr lang="en-US" sz="1200" dirty="0" err="1">
                <a:solidFill>
                  <a:srgbClr val="626262"/>
                </a:solidFill>
                <a:latin typeface="voestalpine Light" panose="020B0300030000000000" pitchFamily="34" charset="0"/>
              </a:rPr>
              <a:t>Böhler</a:t>
            </a: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 Welding)</a:t>
            </a:r>
          </a:p>
        </p:txBody>
      </p:sp>
    </p:spTree>
    <p:extLst>
      <p:ext uri="{BB962C8B-B14F-4D97-AF65-F5344CB8AC3E}">
        <p14:creationId xmlns:p14="http://schemas.microsoft.com/office/powerpoint/2010/main" val="2523218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200" dirty="0">
                <a:solidFill>
                  <a:schemeClr val="tx1"/>
                </a:solidFill>
              </a:rPr>
              <a:t>Doskonała przyczepność </a:t>
            </a:r>
            <a:br>
              <a:rPr lang="pl-PL" sz="3200" dirty="0">
                <a:solidFill>
                  <a:schemeClr val="tx1"/>
                </a:solidFill>
              </a:rPr>
            </a:br>
            <a:r>
              <a:rPr lang="pl-PL" sz="3200" dirty="0">
                <a:solidFill>
                  <a:schemeClr val="tx1"/>
                </a:solidFill>
              </a:rPr>
              <a:t>i wysoka wydajność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A7CD581C-92E0-41C6-BF48-DFCAD6021EEF}" type="slidenum">
              <a:rPr lang="en-US">
                <a:solidFill>
                  <a:srgbClr val="62626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6</a:t>
            </a:fld>
            <a:endParaRPr lang="en-US" dirty="0">
              <a:solidFill>
                <a:srgbClr val="626262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191857" y="2162215"/>
            <a:ext cx="5914899" cy="3655876"/>
          </a:xfrm>
        </p:spPr>
        <p:txBody>
          <a:bodyPr>
            <a:no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sz="1400" dirty="0"/>
              <a:t>nasze produkty mają doskonałą przyczepność do stali nierdzewnej dzięki </a:t>
            </a:r>
            <a:r>
              <a:rPr lang="pl-PL" sz="1400" dirty="0" err="1"/>
              <a:t>tiksotropowym</a:t>
            </a:r>
            <a:r>
              <a:rPr lang="pl-PL" sz="1400" dirty="0"/>
              <a:t> właściwościom naszych produktów</a:t>
            </a:r>
          </a:p>
          <a:p>
            <a:pPr>
              <a:lnSpc>
                <a:spcPct val="150000"/>
              </a:lnSpc>
            </a:pPr>
            <a:endParaRPr lang="en-US" sz="14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sz="1400" dirty="0"/>
              <a:t>Korzyści</a:t>
            </a:r>
            <a:r>
              <a:rPr lang="en-US" sz="1400" dirty="0"/>
              <a:t>:</a:t>
            </a:r>
          </a:p>
          <a:p>
            <a:pPr marL="607500"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400" dirty="0" err="1"/>
              <a:t>brak</a:t>
            </a:r>
            <a:r>
              <a:rPr lang="en-US" sz="1400" dirty="0"/>
              <a:t>/</a:t>
            </a:r>
            <a:r>
              <a:rPr lang="en-US" sz="1400" dirty="0" err="1"/>
              <a:t>zmniejszone</a:t>
            </a:r>
            <a:r>
              <a:rPr lang="en-US" sz="1400" dirty="0"/>
              <a:t> </a:t>
            </a:r>
            <a:r>
              <a:rPr lang="pl-PL" sz="1400" dirty="0"/>
              <a:t>kapanie produktu </a:t>
            </a:r>
            <a:endParaRPr lang="en-US" sz="1400" dirty="0"/>
          </a:p>
          <a:p>
            <a:pPr marL="607500"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sz="1400" dirty="0"/>
              <a:t>wystarczy bardzo cienka warstwa naszego produktu (wysoka wydajność)</a:t>
            </a:r>
          </a:p>
          <a:p>
            <a:pPr marL="607500"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sz="1400" dirty="0"/>
              <a:t>łatwe w spłukiwaniu</a:t>
            </a:r>
            <a:endParaRPr lang="en-US" sz="1400" dirty="0"/>
          </a:p>
          <a:p>
            <a:pPr marL="607500"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sz="1400" dirty="0"/>
              <a:t>długo utrzymuje się w stanie płynnym na powierzchni – mniejsze ryzyko wyschnięcia, możliwe jest całonocne trawienie</a:t>
            </a:r>
            <a:endParaRPr lang="en-US" sz="1400" dirty="0"/>
          </a:p>
        </p:txBody>
      </p:sp>
      <p:sp>
        <p:nvSpPr>
          <p:cNvPr id="14" name="Rechteck 13"/>
          <p:cNvSpPr/>
          <p:nvPr/>
        </p:nvSpPr>
        <p:spPr>
          <a:xfrm>
            <a:off x="6213332" y="3965192"/>
            <a:ext cx="291760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pl-PL" sz="1000" dirty="0">
                <a:solidFill>
                  <a:srgbClr val="626262"/>
                </a:solidFill>
                <a:latin typeface="voestalpine Light" panose="020B0300030000000000" pitchFamily="34" charset="0"/>
              </a:rPr>
              <a:t>Tiksotropia: Po wstrząśnięciu produkt jest bardzo płynny (łatwy do rozpylenia), po nałożeniu na powierzchnię produkt ponownie uzyskuje bardzo dobrą przyczepność (brak lub zmniejszone kapanie chemikaliów)</a:t>
            </a:r>
            <a:endParaRPr lang="en-US" sz="1000" dirty="0">
              <a:solidFill>
                <a:srgbClr val="626262"/>
              </a:solidFill>
              <a:latin typeface="voestalpine Light" panose="020B0300030000000000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7041" y="2550567"/>
            <a:ext cx="2940431" cy="1439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791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14">
            <a:extLst>
              <a:ext uri="{FF2B5EF4-FFF2-40B4-BE49-F238E27FC236}">
                <a16:creationId xmlns:a16="http://schemas.microsoft.com/office/drawing/2014/main" id="{F749B1F1-36CF-10BB-648C-FD5B2BE659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574874" y="2968224"/>
            <a:ext cx="1630586" cy="2250048"/>
          </a:xfrm>
          <a:prstGeom prst="rect">
            <a:avLst/>
          </a:prstGeom>
          <a:solidFill>
            <a:srgbClr val="FFFFFF"/>
          </a:solidFill>
          <a:ln cap="flat">
            <a:noFill/>
          </a:ln>
        </p:spPr>
      </p:pic>
      <p:pic>
        <p:nvPicPr>
          <p:cNvPr id="4" name="Bildobjekt 2">
            <a:extLst>
              <a:ext uri="{FF2B5EF4-FFF2-40B4-BE49-F238E27FC236}">
                <a16:creationId xmlns:a16="http://schemas.microsoft.com/office/drawing/2014/main" id="{AFA6DE77-446F-CB9C-2371-0FB600F7D8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354571" y="2977723"/>
            <a:ext cx="1929779" cy="224054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Bildobjekt 12">
            <a:extLst>
              <a:ext uri="{FF2B5EF4-FFF2-40B4-BE49-F238E27FC236}">
                <a16:creationId xmlns:a16="http://schemas.microsoft.com/office/drawing/2014/main" id="{36B282E7-0ECE-F5E6-0D8E-ABC055A7AF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42697" y="2968224"/>
            <a:ext cx="1630586" cy="225004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Grafik 14">
            <a:extLst>
              <a:ext uri="{FF2B5EF4-FFF2-40B4-BE49-F238E27FC236}">
                <a16:creationId xmlns:a16="http://schemas.microsoft.com/office/drawing/2014/main" id="{D0B2E23F-E287-A15F-F118-CA727B3A6D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08" y="2968224"/>
            <a:ext cx="2095722" cy="224076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2348A43D-9BA8-4D51-BCEE-2E9D9542EC0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2408" y="261535"/>
            <a:ext cx="6715662" cy="8905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rmAutofit/>
          </a:bodyPr>
          <a:lstStyle/>
          <a:p>
            <a:pPr>
              <a:lnSpc>
                <a:spcPts val="3199"/>
              </a:lnSpc>
            </a:pPr>
            <a:r>
              <a:rPr lang="en-US" sz="1575" dirty="0"/>
              <a:t>PRODUCT PROGRAM OVERVIEW</a:t>
            </a:r>
            <a:br>
              <a:rPr lang="en-GB" dirty="0"/>
            </a:br>
            <a:r>
              <a:rPr lang="en-GB" sz="2175" dirty="0"/>
              <a:t>RedOne</a:t>
            </a:r>
            <a:r>
              <a:rPr lang="en-GB" sz="2175" baseline="30000" dirty="0"/>
              <a:t>®</a:t>
            </a:r>
            <a:r>
              <a:rPr lang="en-GB" sz="2175" dirty="0"/>
              <a:t> Spray 240 - </a:t>
            </a:r>
            <a:r>
              <a:rPr lang="pl-PL" sz="2175" dirty="0"/>
              <a:t>Przyczepność</a:t>
            </a:r>
            <a:endParaRPr lang="en-GB" sz="2175" dirty="0"/>
          </a:p>
        </p:txBody>
      </p:sp>
      <p:sp>
        <p:nvSpPr>
          <p:cNvPr id="8" name="Content Placeholder 20">
            <a:extLst>
              <a:ext uri="{FF2B5EF4-FFF2-40B4-BE49-F238E27FC236}">
                <a16:creationId xmlns:a16="http://schemas.microsoft.com/office/drawing/2014/main" id="{FC243AB2-F843-6B27-9011-6FFA1DF3EF3A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4001" y="1748000"/>
            <a:ext cx="8635998" cy="9679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lvl="0"/>
            <a:r>
              <a:rPr lang="pl-PL" dirty="0" err="1"/>
              <a:t>RedOne</a:t>
            </a:r>
            <a:r>
              <a:rPr lang="pl-PL" dirty="0"/>
              <a:t>® Spray 240 po lewej, produkt konkurencji po prawej.</a:t>
            </a:r>
          </a:p>
          <a:p>
            <a:pPr lvl="0"/>
            <a:r>
              <a:rPr lang="pl-PL" dirty="0"/>
              <a:t>Po 110 minutach trawienia, </a:t>
            </a:r>
            <a:r>
              <a:rPr lang="pl-PL" dirty="0" err="1"/>
              <a:t>RedOne</a:t>
            </a:r>
            <a:r>
              <a:rPr lang="pl-PL" dirty="0"/>
              <a:t>® Spray nadal pozostaje na powierzchni tak, jak został nałożony. Podczas gdy produkt konkurencji przegrał z grawitacją.</a:t>
            </a:r>
            <a:endParaRPr lang="sv-SE" dirty="0"/>
          </a:p>
        </p:txBody>
      </p:sp>
      <p:sp>
        <p:nvSpPr>
          <p:cNvPr id="9" name="textruta 5">
            <a:extLst>
              <a:ext uri="{FF2B5EF4-FFF2-40B4-BE49-F238E27FC236}">
                <a16:creationId xmlns:a16="http://schemas.microsoft.com/office/drawing/2014/main" id="{1BE25157-EE18-3B41-C19B-07D0D2056816}"/>
              </a:ext>
            </a:extLst>
          </p:cNvPr>
          <p:cNvSpPr txBox="1"/>
          <p:nvPr/>
        </p:nvSpPr>
        <p:spPr>
          <a:xfrm>
            <a:off x="2425921" y="4841343"/>
            <a:ext cx="1864875" cy="37702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68580" tIns="34290" rIns="68580" bIns="34290" anchor="t" anchorCtr="1" compatLnSpc="1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sv-SE" sz="1000">
                <a:solidFill>
                  <a:srgbClr val="FFFFFF"/>
                </a:solidFill>
                <a:latin typeface="voestalpine"/>
              </a:rPr>
              <a:t>AVESTA RedOne 240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sv-SE" sz="1000">
                <a:solidFill>
                  <a:srgbClr val="FFFFFF"/>
                </a:solidFill>
                <a:latin typeface="voestalpine"/>
              </a:rPr>
              <a:t>(after 110 minutes) </a:t>
            </a:r>
          </a:p>
        </p:txBody>
      </p:sp>
      <p:sp>
        <p:nvSpPr>
          <p:cNvPr id="10" name="textruta 5">
            <a:extLst>
              <a:ext uri="{FF2B5EF4-FFF2-40B4-BE49-F238E27FC236}">
                <a16:creationId xmlns:a16="http://schemas.microsoft.com/office/drawing/2014/main" id="{7C1641E4-B7DC-3F86-98EC-476DE6551455}"/>
              </a:ext>
            </a:extLst>
          </p:cNvPr>
          <p:cNvSpPr txBox="1"/>
          <p:nvPr/>
        </p:nvSpPr>
        <p:spPr>
          <a:xfrm>
            <a:off x="6457726" y="4826365"/>
            <a:ext cx="1864875" cy="37702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68580" tIns="34290" rIns="68580" bIns="34290" anchor="t" anchorCtr="1" compatLnSpc="1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sv-SE" sz="1000">
                <a:solidFill>
                  <a:srgbClr val="333333"/>
                </a:solidFill>
                <a:latin typeface="voestalpine"/>
              </a:rPr>
              <a:t>Competitor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sv-SE" sz="1000">
                <a:solidFill>
                  <a:srgbClr val="333333"/>
                </a:solidFill>
                <a:latin typeface="voestalpine"/>
              </a:rPr>
              <a:t>(after 110 minutes) </a:t>
            </a:r>
          </a:p>
        </p:txBody>
      </p:sp>
      <p:sp>
        <p:nvSpPr>
          <p:cNvPr id="13" name="Platshållare för bildnummer 5">
            <a:extLst>
              <a:ext uri="{FF2B5EF4-FFF2-40B4-BE49-F238E27FC236}">
                <a16:creationId xmlns:a16="http://schemas.microsoft.com/office/drawing/2014/main" id="{9D7398F4-867C-67CC-2E7F-6C7A6BE17253}"/>
              </a:ext>
            </a:extLst>
          </p:cNvPr>
          <p:cNvSpPr txBox="1"/>
          <p:nvPr/>
        </p:nvSpPr>
        <p:spPr>
          <a:xfrm>
            <a:off x="256112" y="5565246"/>
            <a:ext cx="285752" cy="2738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no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4F5AFFF-3E50-4BB0-8B8B-D1E6AE6789EA}" type="slidenum">
              <a:rPr lang="de-AT" sz="900">
                <a:solidFill>
                  <a:srgbClr val="333333"/>
                </a:solidFill>
                <a:latin typeface="voestalpine" pitchFamily="34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7</a:t>
            </a:fld>
            <a:endParaRPr lang="de-AT" sz="900">
              <a:solidFill>
                <a:srgbClr val="333333"/>
              </a:solidFill>
              <a:latin typeface="voestalpine" pitchFamily="34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8541" y="-1759"/>
            <a:ext cx="8611373" cy="1057020"/>
          </a:xfrm>
        </p:spPr>
        <p:txBody>
          <a:bodyPr vert="horz">
            <a:normAutofit/>
          </a:bodyPr>
          <a:lstStyle/>
          <a:p>
            <a:r>
              <a:rPr lang="pl-PL" sz="2000" dirty="0">
                <a:solidFill>
                  <a:schemeClr val="tx1"/>
                </a:solidFill>
              </a:rPr>
              <a:t>Doskonała przyczepność i wysoka wydajność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A7CD581C-92E0-41C6-BF48-DFCAD6021EEF}" type="slidenum">
              <a:rPr lang="en-US">
                <a:solidFill>
                  <a:srgbClr val="62626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8</a:t>
            </a:fld>
            <a:endParaRPr lang="en-US" dirty="0">
              <a:solidFill>
                <a:srgbClr val="626262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258541" y="1600663"/>
            <a:ext cx="8677273" cy="4079466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pl-PL" sz="2000" dirty="0"/>
              <a:t>Bardzo cienka warstwa naszych produktów do trawienia wystarczy, aby uzyskać doskonałe rezultaty, co jest wspierane przez zakolorowanie produktu. Przykład ze Szwecji</a:t>
            </a:r>
            <a:endParaRPr lang="en-US" sz="2000" dirty="0"/>
          </a:p>
        </p:txBody>
      </p:sp>
      <p:sp>
        <p:nvSpPr>
          <p:cNvPr id="10" name="Rechteck 9"/>
          <p:cNvSpPr/>
          <p:nvPr/>
        </p:nvSpPr>
        <p:spPr>
          <a:xfrm>
            <a:off x="810618" y="4977270"/>
            <a:ext cx="34021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AVESTA  </a:t>
            </a:r>
            <a:r>
              <a:rPr lang="en-US" sz="1200" dirty="0" err="1">
                <a:solidFill>
                  <a:srgbClr val="626262"/>
                </a:solidFill>
                <a:latin typeface="voestalpine Light" panose="020B0300030000000000" pitchFamily="34" charset="0"/>
              </a:rPr>
              <a:t>RedOne</a:t>
            </a:r>
            <a:r>
              <a:rPr lang="sv-SE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™</a:t>
            </a: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 Pickling Spray 240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(very thin layer of the product is enough)</a:t>
            </a:r>
          </a:p>
        </p:txBody>
      </p:sp>
      <p:pic>
        <p:nvPicPr>
          <p:cNvPr id="13" name="Bildobjekt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969" y="3010897"/>
            <a:ext cx="1497393" cy="1995529"/>
          </a:xfrm>
          <a:prstGeom prst="rect">
            <a:avLst/>
          </a:prstGeom>
        </p:spPr>
      </p:pic>
      <p:pic>
        <p:nvPicPr>
          <p:cNvPr id="15" name="Bildobjekt 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267736" y="3262564"/>
            <a:ext cx="2025602" cy="1462123"/>
          </a:xfrm>
          <a:prstGeom prst="rect">
            <a:avLst/>
          </a:prstGeom>
        </p:spPr>
      </p:pic>
      <p:sp>
        <p:nvSpPr>
          <p:cNvPr id="16" name="textruta 9"/>
          <p:cNvSpPr txBox="1"/>
          <p:nvPr/>
        </p:nvSpPr>
        <p:spPr>
          <a:xfrm>
            <a:off x="5280538" y="4980338"/>
            <a:ext cx="1767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26262"/>
                </a:solidFill>
                <a:latin typeface="voestalpine Light" panose="020B0300030000000000" pitchFamily="34" charset="0"/>
              </a:rPr>
              <a:t>Result after pickling</a:t>
            </a:r>
          </a:p>
        </p:txBody>
      </p:sp>
      <p:pic>
        <p:nvPicPr>
          <p:cNvPr id="17" name="Bildobjekt 1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3463" y="3010896"/>
            <a:ext cx="1530486" cy="1995530"/>
          </a:xfrm>
          <a:prstGeom prst="rect">
            <a:avLst/>
          </a:prstGeom>
        </p:spPr>
      </p:pic>
      <p:pic>
        <p:nvPicPr>
          <p:cNvPr id="18" name="Bildobjekt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863708" y="3245818"/>
            <a:ext cx="2025601" cy="149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4738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2400" dirty="0">
                <a:solidFill>
                  <a:schemeClr val="tx1"/>
                </a:solidFill>
              </a:rPr>
              <a:t>Doskonała przyczepność i wysoka wydajność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A7CD581C-92E0-41C6-BF48-DFCAD6021EEF}" type="slidenum">
              <a:rPr lang="en-US">
                <a:solidFill>
                  <a:srgbClr val="62626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9</a:t>
            </a:fld>
            <a:endParaRPr lang="en-US" dirty="0">
              <a:solidFill>
                <a:srgbClr val="626262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258542" y="2008514"/>
            <a:ext cx="8677273" cy="3214784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pl-PL" sz="2000" dirty="0"/>
              <a:t>Dzięki płynnym właściwościom i barwieniu naszych produktów, zużycie środków chemicznych jest znacząco ograniczone.</a:t>
            </a:r>
            <a:endParaRPr lang="en-US" sz="2000" dirty="0"/>
          </a:p>
        </p:txBody>
      </p:sp>
      <p:grpSp>
        <p:nvGrpSpPr>
          <p:cNvPr id="40" name="Gruppieren 39"/>
          <p:cNvGrpSpPr/>
          <p:nvPr/>
        </p:nvGrpSpPr>
        <p:grpSpPr>
          <a:xfrm>
            <a:off x="569113" y="2984709"/>
            <a:ext cx="8186751" cy="1938637"/>
            <a:chOff x="332820" y="2081227"/>
            <a:chExt cx="8186751" cy="1938637"/>
          </a:xfrm>
        </p:grpSpPr>
        <p:grpSp>
          <p:nvGrpSpPr>
            <p:cNvPr id="41" name="Gruppieren 40"/>
            <p:cNvGrpSpPr/>
            <p:nvPr/>
          </p:nvGrpSpPr>
          <p:grpSpPr>
            <a:xfrm>
              <a:off x="3122059" y="2087453"/>
              <a:ext cx="2608273" cy="1932411"/>
              <a:chOff x="3015038" y="1125071"/>
              <a:chExt cx="2608273" cy="1932411"/>
            </a:xfrm>
          </p:grpSpPr>
          <p:sp>
            <p:nvSpPr>
              <p:cNvPr id="56" name="Textfeld 55"/>
              <p:cNvSpPr txBox="1"/>
              <p:nvPr/>
            </p:nvSpPr>
            <p:spPr>
              <a:xfrm>
                <a:off x="4574449" y="1603427"/>
                <a:ext cx="308130" cy="2479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dirty="0">
                    <a:solidFill>
                      <a:srgbClr val="626262"/>
                    </a:solidFill>
                    <a:latin typeface="voestalpine Medium" panose="020B0600030000000000" pitchFamily="34" charset="0"/>
                  </a:rPr>
                  <a:t>5</a:t>
                </a:r>
              </a:p>
            </p:txBody>
          </p:sp>
          <p:graphicFrame>
            <p:nvGraphicFramePr>
              <p:cNvPr id="57" name="Diagramm 56"/>
              <p:cNvGraphicFramePr/>
              <p:nvPr/>
            </p:nvGraphicFramePr>
            <p:xfrm>
              <a:off x="3015038" y="1125071"/>
              <a:ext cx="2608273" cy="193241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58" name="Textfeld 57"/>
              <p:cNvSpPr txBox="1"/>
              <p:nvPr/>
            </p:nvSpPr>
            <p:spPr>
              <a:xfrm>
                <a:off x="3161049" y="1616698"/>
                <a:ext cx="1263112" cy="2479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b="1" dirty="0">
                    <a:solidFill>
                      <a:srgbClr val="FFFFFF"/>
                    </a:solidFill>
                    <a:latin typeface="voestalpine Light" panose="020B0300030000000000" pitchFamily="34" charset="0"/>
                  </a:rPr>
                  <a:t>Standard</a:t>
                </a:r>
              </a:p>
            </p:txBody>
          </p:sp>
          <p:sp>
            <p:nvSpPr>
              <p:cNvPr id="59" name="Textfeld 58"/>
              <p:cNvSpPr txBox="1"/>
              <p:nvPr/>
            </p:nvSpPr>
            <p:spPr>
              <a:xfrm>
                <a:off x="3161049" y="2128159"/>
                <a:ext cx="1263112" cy="2479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b="1" dirty="0" err="1">
                    <a:solidFill>
                      <a:srgbClr val="FFFFFF"/>
                    </a:solidFill>
                    <a:latin typeface="voestalpine Light" panose="020B0300030000000000" pitchFamily="34" charset="0"/>
                  </a:rPr>
                  <a:t>RedOneTM</a:t>
                </a:r>
                <a:endParaRPr lang="de-AT" sz="1000" b="1" dirty="0">
                  <a:solidFill>
                    <a:srgbClr val="FFFFFF"/>
                  </a:solidFill>
                  <a:latin typeface="voestalpine Light" panose="020B0300030000000000" pitchFamily="34" charset="0"/>
                </a:endParaRPr>
              </a:p>
            </p:txBody>
          </p:sp>
          <p:sp>
            <p:nvSpPr>
              <p:cNvPr id="60" name="Textfeld 59"/>
              <p:cNvSpPr txBox="1"/>
              <p:nvPr/>
            </p:nvSpPr>
            <p:spPr>
              <a:xfrm>
                <a:off x="3387594" y="2749211"/>
                <a:ext cx="175254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pl-PL" sz="1000" b="1" dirty="0">
                    <a:solidFill>
                      <a:srgbClr val="626262"/>
                    </a:solidFill>
                    <a:latin typeface="voestalpine Light" panose="020B0300030000000000" pitchFamily="34" charset="0"/>
                  </a:rPr>
                  <a:t>m2 powierzchni</a:t>
                </a:r>
                <a:endParaRPr lang="en-GB" sz="1000" b="1" dirty="0">
                  <a:solidFill>
                    <a:srgbClr val="626262"/>
                  </a:solidFill>
                  <a:latin typeface="voestalpine Light" panose="020B0300030000000000" pitchFamily="34" charset="0"/>
                </a:endParaRPr>
              </a:p>
            </p:txBody>
          </p:sp>
          <p:sp>
            <p:nvSpPr>
              <p:cNvPr id="61" name="Textfeld 60"/>
              <p:cNvSpPr txBox="1"/>
              <p:nvPr/>
            </p:nvSpPr>
            <p:spPr>
              <a:xfrm>
                <a:off x="5140137" y="2108289"/>
                <a:ext cx="308130" cy="2479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dirty="0">
                    <a:solidFill>
                      <a:srgbClr val="626262"/>
                    </a:solidFill>
                    <a:latin typeface="voestalpine Medium" panose="020B0600030000000000" pitchFamily="34" charset="0"/>
                  </a:rPr>
                  <a:t>7</a:t>
                </a:r>
              </a:p>
            </p:txBody>
          </p:sp>
        </p:grpSp>
        <p:grpSp>
          <p:nvGrpSpPr>
            <p:cNvPr id="42" name="Gruppieren 41"/>
            <p:cNvGrpSpPr/>
            <p:nvPr/>
          </p:nvGrpSpPr>
          <p:grpSpPr>
            <a:xfrm>
              <a:off x="332820" y="2087453"/>
              <a:ext cx="2608273" cy="1932411"/>
              <a:chOff x="264582" y="1636516"/>
              <a:chExt cx="2608273" cy="1932411"/>
            </a:xfrm>
          </p:grpSpPr>
          <p:graphicFrame>
            <p:nvGraphicFramePr>
              <p:cNvPr id="50" name="Diagramm 49"/>
              <p:cNvGraphicFramePr/>
              <p:nvPr/>
            </p:nvGraphicFramePr>
            <p:xfrm>
              <a:off x="264582" y="1636516"/>
              <a:ext cx="2608273" cy="193241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sp>
            <p:nvSpPr>
              <p:cNvPr id="51" name="Textfeld 50"/>
              <p:cNvSpPr txBox="1"/>
              <p:nvPr/>
            </p:nvSpPr>
            <p:spPr>
              <a:xfrm>
                <a:off x="381806" y="2136540"/>
                <a:ext cx="895453" cy="2479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b="1" dirty="0">
                    <a:solidFill>
                      <a:srgbClr val="FFFFFF"/>
                    </a:solidFill>
                    <a:latin typeface="voestalpine Light" panose="020B0300030000000000" pitchFamily="34" charset="0"/>
                  </a:rPr>
                  <a:t>Standard</a:t>
                </a:r>
              </a:p>
            </p:txBody>
          </p:sp>
          <p:sp>
            <p:nvSpPr>
              <p:cNvPr id="52" name="Textfeld 51"/>
              <p:cNvSpPr txBox="1"/>
              <p:nvPr/>
            </p:nvSpPr>
            <p:spPr>
              <a:xfrm>
                <a:off x="423977" y="2631854"/>
                <a:ext cx="1263112" cy="2479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b="1" dirty="0">
                    <a:solidFill>
                      <a:srgbClr val="FFFFFF"/>
                    </a:solidFill>
                    <a:latin typeface="voestalpine Light" panose="020B0300030000000000" pitchFamily="34" charset="0"/>
                  </a:rPr>
                  <a:t>BlueOne</a:t>
                </a:r>
                <a:r>
                  <a:rPr lang="de-AT" sz="1000" b="1" baseline="30000" dirty="0">
                    <a:solidFill>
                      <a:srgbClr val="FFFFFF"/>
                    </a:solidFill>
                    <a:latin typeface="voestalpine Light" panose="020B0300030000000000" pitchFamily="34" charset="0"/>
                  </a:rPr>
                  <a:t>TM</a:t>
                </a:r>
              </a:p>
            </p:txBody>
          </p:sp>
          <p:sp>
            <p:nvSpPr>
              <p:cNvPr id="53" name="Textfeld 52"/>
              <p:cNvSpPr txBox="1"/>
              <p:nvPr/>
            </p:nvSpPr>
            <p:spPr>
              <a:xfrm>
                <a:off x="534592" y="3251154"/>
                <a:ext cx="2045776" cy="2557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pl-PL" sz="1000" b="1" dirty="0">
                    <a:solidFill>
                      <a:srgbClr val="626262"/>
                    </a:solidFill>
                    <a:latin typeface="voestalpine Light" panose="020B0300030000000000" pitchFamily="34" charset="0"/>
                  </a:rPr>
                  <a:t>długość spoiny w metrach</a:t>
                </a:r>
                <a:endParaRPr lang="en-GB" sz="1000" b="1" dirty="0">
                  <a:solidFill>
                    <a:srgbClr val="626262"/>
                  </a:solidFill>
                  <a:latin typeface="voestalpine Light" panose="020B0300030000000000" pitchFamily="34" charset="0"/>
                </a:endParaRPr>
              </a:p>
            </p:txBody>
          </p:sp>
          <p:sp>
            <p:nvSpPr>
              <p:cNvPr id="54" name="Textfeld 53"/>
              <p:cNvSpPr txBox="1"/>
              <p:nvPr/>
            </p:nvSpPr>
            <p:spPr>
              <a:xfrm>
                <a:off x="2381418" y="2602721"/>
                <a:ext cx="39790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dirty="0">
                    <a:solidFill>
                      <a:srgbClr val="626262"/>
                    </a:solidFill>
                    <a:latin typeface="voestalpine Medium" panose="020B0600030000000000" pitchFamily="34" charset="0"/>
                  </a:rPr>
                  <a:t>70</a:t>
                </a:r>
              </a:p>
            </p:txBody>
          </p:sp>
          <p:sp>
            <p:nvSpPr>
              <p:cNvPr id="55" name="Textfeld 54"/>
              <p:cNvSpPr txBox="1"/>
              <p:nvPr/>
            </p:nvSpPr>
            <p:spPr>
              <a:xfrm>
                <a:off x="1243717" y="2138292"/>
                <a:ext cx="36765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dirty="0">
                    <a:solidFill>
                      <a:srgbClr val="626262"/>
                    </a:solidFill>
                    <a:latin typeface="voestalpine Medium" panose="020B0600030000000000" pitchFamily="34" charset="0"/>
                  </a:rPr>
                  <a:t>30</a:t>
                </a:r>
              </a:p>
            </p:txBody>
          </p:sp>
        </p:grpSp>
        <p:grpSp>
          <p:nvGrpSpPr>
            <p:cNvPr id="43" name="Gruppieren 42"/>
            <p:cNvGrpSpPr/>
            <p:nvPr/>
          </p:nvGrpSpPr>
          <p:grpSpPr>
            <a:xfrm>
              <a:off x="5911298" y="2081227"/>
              <a:ext cx="2608273" cy="1932411"/>
              <a:chOff x="5788916" y="2257971"/>
              <a:chExt cx="2608273" cy="1932411"/>
            </a:xfrm>
          </p:grpSpPr>
          <p:graphicFrame>
            <p:nvGraphicFramePr>
              <p:cNvPr id="44" name="Diagramm 43"/>
              <p:cNvGraphicFramePr/>
              <p:nvPr/>
            </p:nvGraphicFramePr>
            <p:xfrm>
              <a:off x="5788916" y="2257971"/>
              <a:ext cx="2608273" cy="193241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45" name="Textfeld 44"/>
              <p:cNvSpPr txBox="1"/>
              <p:nvPr/>
            </p:nvSpPr>
            <p:spPr>
              <a:xfrm>
                <a:off x="5904249" y="2749244"/>
                <a:ext cx="126311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b="1" dirty="0">
                    <a:solidFill>
                      <a:srgbClr val="FFFFFF"/>
                    </a:solidFill>
                    <a:latin typeface="voestalpine Light" panose="020B0300030000000000" pitchFamily="34" charset="0"/>
                  </a:rPr>
                  <a:t>Standard</a:t>
                </a:r>
              </a:p>
            </p:txBody>
          </p:sp>
          <p:sp>
            <p:nvSpPr>
              <p:cNvPr id="46" name="Textfeld 45"/>
              <p:cNvSpPr txBox="1"/>
              <p:nvPr/>
            </p:nvSpPr>
            <p:spPr>
              <a:xfrm>
                <a:off x="5914572" y="3267284"/>
                <a:ext cx="1263112" cy="2479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b="1" dirty="0" err="1">
                    <a:solidFill>
                      <a:srgbClr val="7D7D7D"/>
                    </a:solidFill>
                    <a:latin typeface="voestalpine Light" panose="020B0300030000000000" pitchFamily="34" charset="0"/>
                  </a:rPr>
                  <a:t>Pickling</a:t>
                </a:r>
                <a:r>
                  <a:rPr lang="de-AT" sz="1000" b="1" dirty="0">
                    <a:solidFill>
                      <a:srgbClr val="7D7D7D"/>
                    </a:solidFill>
                    <a:latin typeface="voestalpine Light" panose="020B0300030000000000" pitchFamily="34" charset="0"/>
                  </a:rPr>
                  <a:t> </a:t>
                </a:r>
                <a:r>
                  <a:rPr lang="de-AT" sz="1000" b="1" dirty="0" err="1">
                    <a:solidFill>
                      <a:srgbClr val="7D7D7D"/>
                    </a:solidFill>
                    <a:latin typeface="voestalpine Light" panose="020B0300030000000000" pitchFamily="34" charset="0"/>
                  </a:rPr>
                  <a:t>Bath</a:t>
                </a:r>
                <a:r>
                  <a:rPr lang="de-AT" sz="1000" b="1" dirty="0">
                    <a:solidFill>
                      <a:srgbClr val="7D7D7D"/>
                    </a:solidFill>
                    <a:latin typeface="voestalpine Light" panose="020B0300030000000000" pitchFamily="34" charset="0"/>
                  </a:rPr>
                  <a:t> 302</a:t>
                </a:r>
              </a:p>
            </p:txBody>
          </p:sp>
          <p:sp>
            <p:nvSpPr>
              <p:cNvPr id="47" name="Textfeld 46"/>
              <p:cNvSpPr txBox="1"/>
              <p:nvPr/>
            </p:nvSpPr>
            <p:spPr>
              <a:xfrm>
                <a:off x="5927634" y="3899919"/>
                <a:ext cx="230196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pl-PL" sz="1000" b="1" dirty="0">
                    <a:solidFill>
                      <a:srgbClr val="626262"/>
                    </a:solidFill>
                    <a:latin typeface="voestalpine Light" panose="020B0300030000000000" pitchFamily="34" charset="0"/>
                  </a:rPr>
                  <a:t>Rozcieńczalność kąpieli w wodzie</a:t>
                </a:r>
                <a:endParaRPr lang="en-GB" sz="1000" b="1" dirty="0">
                  <a:solidFill>
                    <a:srgbClr val="626262"/>
                  </a:solidFill>
                  <a:latin typeface="voestalpine Light" panose="020B0300030000000000" pitchFamily="34" charset="0"/>
                </a:endParaRPr>
              </a:p>
            </p:txBody>
          </p:sp>
          <p:sp>
            <p:nvSpPr>
              <p:cNvPr id="48" name="Textfeld 47"/>
              <p:cNvSpPr txBox="1"/>
              <p:nvPr/>
            </p:nvSpPr>
            <p:spPr>
              <a:xfrm>
                <a:off x="7906721" y="3247414"/>
                <a:ext cx="40037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dirty="0">
                    <a:solidFill>
                      <a:srgbClr val="626262"/>
                    </a:solidFill>
                    <a:latin typeface="voestalpine Medium" panose="020B0600030000000000" pitchFamily="34" charset="0"/>
                  </a:rPr>
                  <a:t>1:3</a:t>
                </a:r>
              </a:p>
            </p:txBody>
          </p:sp>
          <p:sp>
            <p:nvSpPr>
              <p:cNvPr id="49" name="Textfeld 48"/>
              <p:cNvSpPr txBox="1"/>
              <p:nvPr/>
            </p:nvSpPr>
            <p:spPr>
              <a:xfrm>
                <a:off x="6594504" y="2764221"/>
                <a:ext cx="39523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sz="1000" dirty="0">
                    <a:solidFill>
                      <a:srgbClr val="626262"/>
                    </a:solidFill>
                    <a:latin typeface="voestalpine Medium" panose="020B0600030000000000" pitchFamily="34" charset="0"/>
                  </a:rPr>
                  <a:t>1:1</a:t>
                </a:r>
              </a:p>
            </p:txBody>
          </p:sp>
        </p:grpSp>
      </p:grpSp>
      <p:cxnSp>
        <p:nvCxnSpPr>
          <p:cNvPr id="7" name="Gerade Verbindung mit Pfeil 6"/>
          <p:cNvCxnSpPr/>
          <p:nvPr/>
        </p:nvCxnSpPr>
        <p:spPr>
          <a:xfrm>
            <a:off x="1915906" y="3626572"/>
            <a:ext cx="770042" cy="2002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/>
          <p:nvPr/>
        </p:nvCxnSpPr>
        <p:spPr>
          <a:xfrm>
            <a:off x="5168298" y="3593276"/>
            <a:ext cx="535936" cy="3188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5084890" y="3330424"/>
            <a:ext cx="12088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626262"/>
                </a:solidFill>
                <a:latin typeface="Arial"/>
              </a:rPr>
              <a:t>up to 30% less consumption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2138161" y="3343815"/>
            <a:ext cx="1066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rgbClr val="626262"/>
                </a:solidFill>
                <a:latin typeface="Arial"/>
              </a:rPr>
              <a:t>up to 60% less consumption</a:t>
            </a:r>
          </a:p>
        </p:txBody>
      </p:sp>
    </p:spTree>
    <p:extLst>
      <p:ext uri="{BB962C8B-B14F-4D97-AF65-F5344CB8AC3E}">
        <p14:creationId xmlns:p14="http://schemas.microsoft.com/office/powerpoint/2010/main" val="2043005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4DE0E22-FF20-C13A-0381-798CBA374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800" dirty="0">
                <a:latin typeface="voestalpine Light" panose="020B0300030000000000" pitchFamily="34" charset="-18"/>
              </a:rPr>
              <a:t>Malmo, Szwecja</a:t>
            </a:r>
            <a:br>
              <a:rPr lang="en-US" sz="2800" dirty="0">
                <a:latin typeface="voestalpine Light" panose="020B0300030000000000" pitchFamily="34" charset="-18"/>
              </a:rPr>
            </a:br>
            <a:endParaRPr lang="pl-PL" dirty="0">
              <a:latin typeface="voestalpine Light" panose="020B0300030000000000" pitchFamily="34" charset="-18"/>
            </a:endParaRPr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31B332B8-3497-7DFC-5F7F-A9AAE71DB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7A7F21-6994-46F9-9560-5C7070301530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EDD3414F-2000-97BF-4C94-C849B521EC2E}"/>
              </a:ext>
            </a:extLst>
          </p:cNvPr>
          <p:cNvSpPr txBox="1">
            <a:spLocks/>
          </p:cNvSpPr>
          <p:nvPr/>
        </p:nvSpPr>
        <p:spPr bwMode="auto">
          <a:xfrm>
            <a:off x="146329" y="719931"/>
            <a:ext cx="8611373" cy="792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CE33996A-3895-4A0A-101B-8C03836EBD0E}"/>
              </a:ext>
            </a:extLst>
          </p:cNvPr>
          <p:cNvSpPr txBox="1">
            <a:spLocks/>
          </p:cNvSpPr>
          <p:nvPr/>
        </p:nvSpPr>
        <p:spPr>
          <a:xfrm>
            <a:off x="323852" y="4755641"/>
            <a:ext cx="214312" cy="205383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B97401F-E159-3E21-9201-EFF4FC7608FB}"/>
              </a:ext>
            </a:extLst>
          </p:cNvPr>
          <p:cNvSpPr txBox="1">
            <a:spLocks/>
          </p:cNvSpPr>
          <p:nvPr/>
        </p:nvSpPr>
        <p:spPr>
          <a:xfrm>
            <a:off x="4278086" y="1242692"/>
            <a:ext cx="4600576" cy="30392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1D314E"/>
              </a:buClr>
              <a:buFont typeface="voestalpine" panose="020B0500030000000000" pitchFamily="34" charset="0"/>
              <a:buNone/>
              <a:defRPr lang="en-US" sz="1500" kern="1200" noProof="0" dirty="0" smtClean="0">
                <a:solidFill>
                  <a:schemeClr val="tx1"/>
                </a:solidFill>
                <a:latin typeface="voestalpine Light" panose="020B0300030000000000" pitchFamily="34" charset="0"/>
                <a:ea typeface="+mn-ea"/>
                <a:cs typeface="+mn-cs"/>
              </a:defRPr>
            </a:lvl1pPr>
            <a:lvl2pPr marL="264600" indent="-264600" algn="l" defTabSz="6858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defRPr lang="en-US" sz="1500" kern="1200" noProof="0" dirty="0" smtClean="0">
                <a:solidFill>
                  <a:schemeClr val="tx1"/>
                </a:solidFill>
                <a:latin typeface="voestalpine Light" panose="020B0300030000000000" pitchFamily="34" charset="0"/>
                <a:ea typeface="+mn-ea"/>
                <a:cs typeface="+mn-cs"/>
              </a:defRPr>
            </a:lvl2pPr>
            <a:lvl3pPr marL="477900" indent="-213300" algn="l" defTabSz="6858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defRPr lang="en-US" sz="1350" kern="1200" noProof="0" dirty="0" smtClean="0">
                <a:solidFill>
                  <a:schemeClr val="tx1"/>
                </a:solidFill>
                <a:latin typeface="voestalpine Light" panose="020B0300030000000000" pitchFamily="34" charset="0"/>
                <a:ea typeface="+mn-ea"/>
                <a:cs typeface="+mn-cs"/>
              </a:defRPr>
            </a:lvl3pPr>
            <a:lvl4pPr marL="677700" indent="-198835" algn="l" defTabSz="6858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defRPr lang="en-US" sz="1200" kern="1200" noProof="0" dirty="0" smtClean="0">
                <a:solidFill>
                  <a:schemeClr val="tx1"/>
                </a:solidFill>
                <a:latin typeface="voestalpine Light" panose="020B0300030000000000" pitchFamily="34" charset="0"/>
                <a:ea typeface="+mn-ea"/>
                <a:cs typeface="+mn-cs"/>
              </a:defRPr>
            </a:lvl4pPr>
            <a:lvl5pPr marL="677700" indent="-199800" algn="l" defTabSz="6858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defRPr lang="en-US" sz="1500" kern="1200" noProof="0" dirty="0">
                <a:solidFill>
                  <a:schemeClr val="tx1"/>
                </a:solidFill>
                <a:latin typeface="voestalpine" panose="020B0500030000000000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pl-PL" altLang="en-US" sz="1800" dirty="0"/>
              <a:t>Biura, produkcja oraz magazyn na </a:t>
            </a:r>
            <a:r>
              <a:rPr lang="en-US" altLang="en-US" sz="1800" dirty="0"/>
              <a:t>3.700 </a:t>
            </a:r>
            <a:r>
              <a:rPr lang="pl-PL" altLang="en-US" sz="1800" dirty="0"/>
              <a:t>m2</a:t>
            </a:r>
            <a:r>
              <a:rPr lang="en-US" altLang="en-US" sz="1800" dirty="0"/>
              <a:t> </a:t>
            </a:r>
            <a:r>
              <a:rPr lang="pl-PL" altLang="en-US" sz="1800" dirty="0"/>
              <a:t>w</a:t>
            </a:r>
            <a:r>
              <a:rPr lang="en-US" altLang="en-US" sz="1800" dirty="0"/>
              <a:t> Malmö (Sweden)</a:t>
            </a:r>
          </a:p>
          <a:p>
            <a:pPr lvl="1"/>
            <a:endParaRPr lang="en-US" altLang="en-US" sz="1800" dirty="0"/>
          </a:p>
          <a:p>
            <a:pPr lvl="1"/>
            <a:r>
              <a:rPr lang="pl-PL" altLang="en-US" sz="1800" dirty="0"/>
              <a:t>Nowo otwarta fabryka</a:t>
            </a:r>
            <a:r>
              <a:rPr lang="en-US" altLang="en-US" sz="1800" dirty="0"/>
              <a:t>: Mar</a:t>
            </a:r>
            <a:r>
              <a:rPr lang="pl-PL" altLang="en-US" sz="1800" dirty="0" err="1"/>
              <a:t>zec</a:t>
            </a:r>
            <a:r>
              <a:rPr lang="en-US" altLang="en-US" sz="1800" dirty="0"/>
              <a:t> 2021</a:t>
            </a:r>
          </a:p>
          <a:p>
            <a:pPr marL="0" lvl="1" indent="0">
              <a:buNone/>
            </a:pPr>
            <a:endParaRPr lang="en-US" altLang="en-US" sz="1800" dirty="0"/>
          </a:p>
          <a:p>
            <a:pPr lvl="1"/>
            <a:r>
              <a:rPr lang="pl-PL" altLang="en-US" sz="1800" dirty="0"/>
              <a:t>W pełni zautomatyzowana fabryka, neutralna dla środowiska</a:t>
            </a:r>
            <a:r>
              <a:rPr lang="en-US" altLang="en-US" sz="1800" dirty="0"/>
              <a:t>. Zero </a:t>
            </a:r>
            <a:r>
              <a:rPr lang="en-US" altLang="en-US" sz="1800" dirty="0" err="1"/>
              <a:t>emis</a:t>
            </a:r>
            <a:r>
              <a:rPr lang="pl-PL" altLang="en-US" sz="1800" dirty="0" err="1"/>
              <a:t>yjna</a:t>
            </a:r>
            <a:r>
              <a:rPr lang="en-US" altLang="en-US" sz="1800" dirty="0"/>
              <a:t>.</a:t>
            </a:r>
          </a:p>
          <a:p>
            <a:pPr marL="264600" lvl="2" indent="0">
              <a:buNone/>
            </a:pPr>
            <a:endParaRPr lang="en-US" altLang="en-US" sz="1650" dirty="0"/>
          </a:p>
          <a:p>
            <a:pPr lvl="1"/>
            <a:r>
              <a:rPr lang="pl-PL" altLang="en-US" sz="1800" dirty="0"/>
              <a:t>Centrum treningowe dla klientów</a:t>
            </a:r>
            <a:endParaRPr lang="en-US" altLang="en-US" sz="1800" dirty="0"/>
          </a:p>
          <a:p>
            <a:pPr lvl="2"/>
            <a:endParaRPr lang="en-US" altLang="en-US" sz="1650" dirty="0"/>
          </a:p>
          <a:p>
            <a:pPr lvl="2"/>
            <a:endParaRPr lang="en-US" altLang="en-US" sz="1650" dirty="0"/>
          </a:p>
          <a:p>
            <a:pPr lvl="1"/>
            <a:endParaRPr lang="en-US" altLang="en-US" sz="1800" dirty="0"/>
          </a:p>
          <a:p>
            <a:pPr marL="0" lvl="1" indent="0">
              <a:buNone/>
            </a:pPr>
            <a:endParaRPr lang="en-US" sz="1800" dirty="0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A5692E15-6822-9333-F57B-A70E92E647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6298" y="1291756"/>
            <a:ext cx="3819941" cy="2741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170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0265" y="2414447"/>
            <a:ext cx="4639988" cy="3093325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2400" dirty="0">
                <a:solidFill>
                  <a:schemeClr val="tx1"/>
                </a:solidFill>
              </a:rPr>
              <a:t>Doskonała przyczepność i wysoka wydajność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A7CD581C-92E0-41C6-BF48-DFCAD6021EEF}" type="slidenum">
              <a:rPr lang="en-US">
                <a:solidFill>
                  <a:srgbClr val="62626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20</a:t>
            </a:fld>
            <a:endParaRPr lang="en-US" dirty="0">
              <a:solidFill>
                <a:srgbClr val="626262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323853" y="1930139"/>
            <a:ext cx="8677273" cy="3214784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30000"/>
              </a:lnSpc>
              <a:buFont typeface="Wingdings" panose="05000000000000000000" pitchFamily="2" charset="2"/>
              <a:buChar char="ü"/>
            </a:pPr>
            <a:r>
              <a:rPr lang="pl-PL" sz="1800" dirty="0"/>
              <a:t>Wydajność (niskie zużycie chemikaliów) można jeszcze bardziej zwiększyć, stosując naszej wysokiej klasy lancę natryskową i pompę. Szybki zwrot inwestycji.</a:t>
            </a:r>
            <a:endParaRPr lang="en-US" sz="1800" dirty="0"/>
          </a:p>
        </p:txBody>
      </p:sp>
      <p:sp>
        <p:nvSpPr>
          <p:cNvPr id="30" name="Text Box 4"/>
          <p:cNvSpPr txBox="1">
            <a:spLocks noChangeArrowheads="1"/>
          </p:cNvSpPr>
          <p:nvPr/>
        </p:nvSpPr>
        <p:spPr bwMode="auto">
          <a:xfrm>
            <a:off x="538165" y="2805821"/>
            <a:ext cx="4835025" cy="295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2959100" algn="r"/>
              </a:tabLst>
            </a:pP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Kompletny system pomp SP-25</a:t>
            </a:r>
          </a:p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2959100" algn="r"/>
              </a:tabLst>
            </a:pP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Pompa napędzana sprężonym powietrzem</a:t>
            </a:r>
          </a:p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2959100" algn="r"/>
              </a:tabLst>
            </a:pP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6-metrowy wąż kwasoodporny (można przedłużyć)</a:t>
            </a:r>
          </a:p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2959100" algn="r"/>
              </a:tabLst>
            </a:pP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Specjalnie wykonany uchwyt natryskowy kwasoodporny</a:t>
            </a:r>
          </a:p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2959100" algn="r"/>
              </a:tabLst>
            </a:pP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Wyposażony w standardową dyszę o płaskim strumieniu firmy </a:t>
            </a:r>
            <a:r>
              <a:rPr lang="pl-PL" sz="1600" dirty="0" err="1">
                <a:solidFill>
                  <a:srgbClr val="626262"/>
                </a:solidFill>
                <a:latin typeface="voestalpine Light" panose="020B0300030000000000" pitchFamily="34" charset="0"/>
              </a:rPr>
              <a:t>Spraying</a:t>
            </a: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 </a:t>
            </a:r>
            <a:r>
              <a:rPr lang="pl-PL" sz="1600" dirty="0" err="1">
                <a:solidFill>
                  <a:srgbClr val="626262"/>
                </a:solidFill>
                <a:latin typeface="voestalpine Light" panose="020B0300030000000000" pitchFamily="34" charset="0"/>
              </a:rPr>
              <a:t>systems</a:t>
            </a: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 11006.</a:t>
            </a:r>
          </a:p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2959100" algn="r"/>
              </a:tabLst>
            </a:pP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Dostępne różne dysze</a:t>
            </a:r>
          </a:p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2959100" algn="r"/>
              </a:tabLst>
            </a:pP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Gotowy do użycia — przetestowany pod kątem szczelności i ciśnienia</a:t>
            </a:r>
          </a:p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D314E"/>
              </a:buClr>
              <a:buSzPct val="80000"/>
              <a:buFont typeface="voestalpine" panose="020B0500030000000000" pitchFamily="34" charset="0"/>
              <a:buChar char="»"/>
              <a:tabLst>
                <a:tab pos="2959100" algn="r"/>
              </a:tabLst>
            </a:pPr>
            <a:r>
              <a:rPr lang="pl-PL" sz="1600" dirty="0">
                <a:solidFill>
                  <a:srgbClr val="626262"/>
                </a:solidFill>
                <a:latin typeface="voestalpine Light" panose="020B0300030000000000" pitchFamily="34" charset="0"/>
              </a:rPr>
              <a:t>Łatwy do demontażu przy ograniczonej liczbie części</a:t>
            </a:r>
            <a:endParaRPr lang="en-US" sz="1600" dirty="0">
              <a:solidFill>
                <a:srgbClr val="626262"/>
              </a:solidFill>
              <a:latin typeface="voestalpine Light" panose="020B030003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7607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19" descr="A pallet of pink liquid&#10;&#10;Description automatically generated">
            <a:extLst>
              <a:ext uri="{FF2B5EF4-FFF2-40B4-BE49-F238E27FC236}">
                <a16:creationId xmlns:a16="http://schemas.microsoft.com/office/drawing/2014/main" id="{B9958C85-5555-84E9-7E08-2BDA785E10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927" y="3558527"/>
            <a:ext cx="1666295" cy="162466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Bildobjekt 12">
            <a:extLst>
              <a:ext uri="{FF2B5EF4-FFF2-40B4-BE49-F238E27FC236}">
                <a16:creationId xmlns:a16="http://schemas.microsoft.com/office/drawing/2014/main" id="{30AC449A-490F-3707-5B61-88B1AA8CE9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887" y="2072323"/>
            <a:ext cx="1272282" cy="159007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9901E6C7-7731-E628-1DFB-1E9EE9F92E7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91" y="391586"/>
            <a:ext cx="6674061" cy="8905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rmAutofit/>
          </a:bodyPr>
          <a:lstStyle/>
          <a:p>
            <a:pPr>
              <a:lnSpc>
                <a:spcPts val="3199"/>
              </a:lnSpc>
            </a:pPr>
            <a:br>
              <a:rPr lang="en-GB" dirty="0"/>
            </a:br>
            <a:r>
              <a:rPr lang="en-GB" sz="2175" dirty="0"/>
              <a:t>RedOne</a:t>
            </a:r>
            <a:r>
              <a:rPr lang="en-GB" sz="2175" baseline="30000" dirty="0"/>
              <a:t>®</a:t>
            </a:r>
            <a:r>
              <a:rPr lang="en-GB" sz="2175" dirty="0"/>
              <a:t> Spray 240</a:t>
            </a:r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29A43F9F-5BD4-B357-FA04-7716EA37ECBA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91" y="2141603"/>
            <a:ext cx="5765198" cy="30415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WSZECHSTRONNY (NAJLEPSZY NA RYNKU)</a:t>
            </a:r>
          </a:p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Działa na wszystkich materiałach, ale jest zoptymalizowany do standardowych gatunków.</a:t>
            </a:r>
          </a:p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Opakowania: 20 kg, 30 kg, 220 kg i 1200 kg</a:t>
            </a:r>
          </a:p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Bardzo niskie emisje </a:t>
            </a:r>
            <a:r>
              <a:rPr lang="pl-PL" dirty="0" err="1">
                <a:latin typeface="voestalpine Light" panose="020B0300030000000000" pitchFamily="34" charset="-18"/>
              </a:rPr>
              <a:t>NOx</a:t>
            </a:r>
            <a:r>
              <a:rPr lang="pl-PL" dirty="0">
                <a:latin typeface="voestalpine Light" panose="020B0300030000000000" pitchFamily="34" charset="-18"/>
              </a:rPr>
              <a:t> 90% szczyt, 75% średnio.</a:t>
            </a:r>
          </a:p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Nie wysycha na płycie podczas trawienia przez noc</a:t>
            </a:r>
          </a:p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20-30% niższe zużycie, ok. 7 m²/kg</a:t>
            </a:r>
          </a:p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Czerwony pigment ułatwia zobaczenie, gdzie i ile zostało nałożone.</a:t>
            </a:r>
          </a:p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Bardzo dobrze przylega do powierzchni, nie pozostawia śladów</a:t>
            </a:r>
          </a:p>
          <a:p>
            <a:pPr lvl="0">
              <a:lnSpc>
                <a:spcPct val="95000"/>
              </a:lnSpc>
            </a:pPr>
            <a:r>
              <a:rPr lang="pl-PL" dirty="0">
                <a:latin typeface="voestalpine Light" panose="020B0300030000000000" pitchFamily="34" charset="-18"/>
              </a:rPr>
              <a:t>Pozwala powierzchni zachować więcej pierwotnego wyglądu. Nie powoduje „białego trawienia”</a:t>
            </a:r>
            <a:endParaRPr lang="en-US" dirty="0">
              <a:latin typeface="voestalpine Light" panose="020B0300030000000000" pitchFamily="34" charset="-18"/>
            </a:endParaRPr>
          </a:p>
        </p:txBody>
      </p:sp>
      <p:pic>
        <p:nvPicPr>
          <p:cNvPr id="6" name="Bildobjekt 10">
            <a:extLst>
              <a:ext uri="{FF2B5EF4-FFF2-40B4-BE49-F238E27FC236}">
                <a16:creationId xmlns:a16="http://schemas.microsoft.com/office/drawing/2014/main" id="{ACDC3992-D4D5-781F-DEFA-A37A6E8178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2170" y="1978156"/>
            <a:ext cx="1496237" cy="186994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3E16E781-1DBB-4CEF-ECA3-C4703ABCB4EA}"/>
              </a:ext>
            </a:extLst>
          </p:cNvPr>
          <p:cNvSpPr txBox="1"/>
          <p:nvPr/>
        </p:nvSpPr>
        <p:spPr>
          <a:xfrm>
            <a:off x="256112" y="5565246"/>
            <a:ext cx="285752" cy="2738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no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4F5AFFF-3E50-4BB0-8B8B-D1E6AE6789EA}" type="slidenum">
              <a:rPr lang="de-AT" sz="900">
                <a:solidFill>
                  <a:srgbClr val="333333"/>
                </a:solidFill>
                <a:latin typeface="voestalpine" pitchFamily="34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1</a:t>
            </a:fld>
            <a:endParaRPr lang="de-AT" sz="900">
              <a:solidFill>
                <a:srgbClr val="333333"/>
              </a:solidFill>
              <a:latin typeface="voestalpine" pitchFamily="34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7">
            <a:extLst>
              <a:ext uri="{FF2B5EF4-FFF2-40B4-BE49-F238E27FC236}">
                <a16:creationId xmlns:a16="http://schemas.microsoft.com/office/drawing/2014/main" id="{810EA3D7-C768-C11B-A57D-CE688F13E3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3484" y="2596219"/>
            <a:ext cx="3399641" cy="226642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3E2B09ED-857C-5C75-2131-90F7B40EA8B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91" y="315779"/>
            <a:ext cx="7196085" cy="8905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rmAutofit/>
          </a:bodyPr>
          <a:lstStyle/>
          <a:p>
            <a:pPr>
              <a:lnSpc>
                <a:spcPts val="3199"/>
              </a:lnSpc>
            </a:pPr>
            <a:r>
              <a:rPr lang="en-GB" sz="2175" dirty="0"/>
              <a:t>Duplex Spray 250</a:t>
            </a:r>
          </a:p>
        </p:txBody>
      </p:sp>
      <p:sp>
        <p:nvSpPr>
          <p:cNvPr id="4" name="Platshållare för innehåll 2">
            <a:extLst>
              <a:ext uri="{FF2B5EF4-FFF2-40B4-BE49-F238E27FC236}">
                <a16:creationId xmlns:a16="http://schemas.microsoft.com/office/drawing/2014/main" id="{AFEBB86F-2AD1-63B4-BEBF-09903A7CECD6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91" y="2141603"/>
            <a:ext cx="5765198" cy="30415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pl-PL" dirty="0">
                <a:latin typeface="voestalpine Light" panose="020B0300030000000000" pitchFamily="34" charset="-18"/>
              </a:rPr>
              <a:t>Zoptymalizowany do stali Duplex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Skraca czas trawienia, zwiększa wydajność.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Zmniejsza potrzebę trawienia gatunków Duplex dwukrotnie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Połowa czasu pracy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Połowa odpadów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Połowa potrzebnego produktu</a:t>
            </a:r>
          </a:p>
          <a:p>
            <a:pPr marL="0" lvl="0" indent="0">
              <a:buNone/>
            </a:pPr>
            <a:endParaRPr lang="pl-PL" dirty="0">
              <a:latin typeface="voestalpine Light" panose="020B0300030000000000" pitchFamily="34" charset="-18"/>
            </a:endParaRP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Opakowanie: 20 kg, 220 kg i 1200 kg</a:t>
            </a:r>
          </a:p>
          <a:p>
            <a:pPr lvl="0"/>
            <a:endParaRPr lang="pl-PL" dirty="0">
              <a:latin typeface="voestalpine Light" panose="020B0300030000000000" pitchFamily="34" charset="-18"/>
            </a:endParaRP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Nie należy stosować do gatunków austenitycznych (chyba że wysokostopowych), ferrytycznych i martenzytycznych!</a:t>
            </a:r>
            <a:endParaRPr lang="en-GB" dirty="0">
              <a:latin typeface="voestalpine Light" panose="020B0300030000000000" pitchFamily="34" charset="-18"/>
            </a:endParaRPr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AD8F1D80-5739-8907-3576-3B26CB0C741C}"/>
              </a:ext>
            </a:extLst>
          </p:cNvPr>
          <p:cNvSpPr txBox="1"/>
          <p:nvPr/>
        </p:nvSpPr>
        <p:spPr>
          <a:xfrm>
            <a:off x="256112" y="5565246"/>
            <a:ext cx="285752" cy="2738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no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4F5AFFF-3E50-4BB0-8B8B-D1E6AE6789EA}" type="slidenum">
              <a:rPr lang="de-AT" sz="900">
                <a:solidFill>
                  <a:srgbClr val="333333"/>
                </a:solidFill>
                <a:latin typeface="voestalpine" pitchFamily="34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2</a:t>
            </a:fld>
            <a:endParaRPr lang="de-AT" sz="900">
              <a:solidFill>
                <a:srgbClr val="333333"/>
              </a:solidFill>
              <a:latin typeface="voestalpine" pitchFamily="34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B1923117-BE41-E5BF-BCC2-EBF4523EC7B2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91" y="1746307"/>
            <a:ext cx="5167310" cy="30415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pl-PL" dirty="0">
                <a:latin typeface="voestalpine Light" panose="020B0300030000000000" pitchFamily="34" charset="-18"/>
              </a:rPr>
              <a:t>Uniwersalny produkt (Premium)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Działa na wszystkich materiałach, ale jest zoptymalizowany pod kątem standardowych gatunków.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Dostępny w opakowaniach 1 kg (w trakcie produkcji), 2,4 kg, 13 kg</a:t>
            </a:r>
          </a:p>
          <a:p>
            <a:pPr lvl="0"/>
            <a:endParaRPr lang="pl-PL" dirty="0">
              <a:latin typeface="voestalpine Light" panose="020B0300030000000000" pitchFamily="34" charset="-18"/>
            </a:endParaRP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80% redukcji </a:t>
            </a:r>
            <a:r>
              <a:rPr lang="pl-PL" dirty="0" err="1">
                <a:latin typeface="voestalpine Light" panose="020B0300030000000000" pitchFamily="34" charset="-18"/>
              </a:rPr>
              <a:t>NOx</a:t>
            </a:r>
            <a:endParaRPr lang="pl-PL" dirty="0">
              <a:latin typeface="voestalpine Light" panose="020B0300030000000000" pitchFamily="34" charset="-18"/>
            </a:endParaRP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Niskie zużycie 70 m/kg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Niebieski kolor ułatwia zobaczenie, gdzie został nałożony.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Bardzo dobrze przylega do powierzchni we wszystkich pozycjach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Pozwala powierzchni zachować więcej jej pierwotnego wyglądu. Nie powoduje „białego wytrawiania”</a:t>
            </a:r>
            <a:endParaRPr lang="en-GB" dirty="0">
              <a:latin typeface="voestalpine Light" panose="020B0300030000000000" pitchFamily="34" charset="-18"/>
            </a:endParaRPr>
          </a:p>
        </p:txBody>
      </p:sp>
      <p:pic>
        <p:nvPicPr>
          <p:cNvPr id="3" name="Bildobjekt 7">
            <a:extLst>
              <a:ext uri="{FF2B5EF4-FFF2-40B4-BE49-F238E27FC236}">
                <a16:creationId xmlns:a16="http://schemas.microsoft.com/office/drawing/2014/main" id="{CBF5D2E6-66DA-1E0A-FF2F-C2D7BB6471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22902" y="3593304"/>
            <a:ext cx="1467550" cy="172085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Bildobjekt 13">
            <a:extLst>
              <a:ext uri="{FF2B5EF4-FFF2-40B4-BE49-F238E27FC236}">
                <a16:creationId xmlns:a16="http://schemas.microsoft.com/office/drawing/2014/main" id="{175040D0-742C-D5BD-9E7F-F8053862C4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1690" y="2909863"/>
            <a:ext cx="1252428" cy="187803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Bildobjekt 9">
            <a:extLst>
              <a:ext uri="{FF2B5EF4-FFF2-40B4-BE49-F238E27FC236}">
                <a16:creationId xmlns:a16="http://schemas.microsoft.com/office/drawing/2014/main" id="{79379AA1-A5B1-7230-7CD5-DF089588CE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54750" y="2016142"/>
            <a:ext cx="1657352" cy="164625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D11607AE-ECE0-C1F1-CF55-C73EE283C26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91" y="337009"/>
            <a:ext cx="6709373" cy="8905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rmAutofit/>
          </a:bodyPr>
          <a:lstStyle/>
          <a:p>
            <a:pPr>
              <a:lnSpc>
                <a:spcPts val="3199"/>
              </a:lnSpc>
            </a:pPr>
            <a:br>
              <a:rPr lang="en-GB" dirty="0"/>
            </a:br>
            <a:r>
              <a:rPr lang="en-GB" sz="2175" dirty="0" err="1"/>
              <a:t>BlueOne</a:t>
            </a:r>
            <a:r>
              <a:rPr lang="en-GB" sz="2175" baseline="30000" dirty="0"/>
              <a:t>®</a:t>
            </a:r>
            <a:r>
              <a:rPr lang="en-GB" sz="2175" dirty="0"/>
              <a:t> Paste 130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10CAAF49-6E40-761A-4CCE-9CAA7B6DCF12}"/>
              </a:ext>
            </a:extLst>
          </p:cNvPr>
          <p:cNvSpPr txBox="1"/>
          <p:nvPr/>
        </p:nvSpPr>
        <p:spPr>
          <a:xfrm>
            <a:off x="256112" y="5565246"/>
            <a:ext cx="285752" cy="2738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no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4F5AFFF-3E50-4BB0-8B8B-D1E6AE6789EA}" type="slidenum">
              <a:rPr lang="de-AT" sz="900">
                <a:solidFill>
                  <a:srgbClr val="333333"/>
                </a:solidFill>
                <a:latin typeface="voestalpine" pitchFamily="34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3</a:t>
            </a:fld>
            <a:endParaRPr lang="de-AT" sz="900">
              <a:solidFill>
                <a:srgbClr val="333333"/>
              </a:solidFill>
              <a:latin typeface="voestalpine" pitchFamily="34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7314198A-BFAE-9467-3B74-D8ED949092E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84" y="2135252"/>
            <a:ext cx="3811587" cy="30415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marL="0" indent="0">
              <a:lnSpc>
                <a:spcPct val="95000"/>
              </a:lnSpc>
              <a:buNone/>
            </a:pPr>
            <a:r>
              <a:rPr lang="pl-PL" dirty="0">
                <a:latin typeface="voestalpine Light" panose="020B0300030000000000" pitchFamily="34" charset="-18"/>
              </a:rPr>
              <a:t>Produkt standardowy:</a:t>
            </a:r>
          </a:p>
          <a:p>
            <a:pPr marL="0" indent="0">
              <a:lnSpc>
                <a:spcPct val="95000"/>
              </a:lnSpc>
              <a:buNone/>
            </a:pPr>
            <a:r>
              <a:rPr lang="pl-PL" dirty="0">
                <a:latin typeface="voestalpine Light" panose="020B0300030000000000" pitchFamily="34" charset="-18"/>
              </a:rPr>
              <a:t>Kąpiel trawiąca 305</a:t>
            </a:r>
          </a:p>
          <a:p>
            <a:pPr marL="0" indent="0">
              <a:lnSpc>
                <a:spcPct val="95000"/>
              </a:lnSpc>
              <a:buNone/>
            </a:pPr>
            <a:endParaRPr lang="pl-PL" dirty="0">
              <a:latin typeface="voestalpine Light" panose="020B0300030000000000" pitchFamily="34" charset="-18"/>
            </a:endParaRPr>
          </a:p>
          <a:p>
            <a:pPr marL="0" indent="0">
              <a:lnSpc>
                <a:spcPct val="95000"/>
              </a:lnSpc>
              <a:buNone/>
            </a:pPr>
            <a:r>
              <a:rPr lang="pl-PL" dirty="0">
                <a:latin typeface="voestalpine Light" panose="020B0300030000000000" pitchFamily="34" charset="-18"/>
              </a:rPr>
              <a:t>Produkt wysoko skoncentrowany:</a:t>
            </a:r>
          </a:p>
          <a:p>
            <a:pPr marL="0" indent="0">
              <a:lnSpc>
                <a:spcPct val="95000"/>
              </a:lnSpc>
              <a:buNone/>
            </a:pPr>
            <a:r>
              <a:rPr lang="pl-PL" dirty="0">
                <a:latin typeface="voestalpine Light" panose="020B0300030000000000" pitchFamily="34" charset="-18"/>
              </a:rPr>
              <a:t>Kąpiel trawiąca 302</a:t>
            </a:r>
          </a:p>
          <a:p>
            <a:pPr marL="0" indent="0">
              <a:lnSpc>
                <a:spcPct val="95000"/>
              </a:lnSpc>
              <a:buNone/>
            </a:pPr>
            <a:endParaRPr lang="pl-PL" dirty="0">
              <a:latin typeface="voestalpine Light" panose="020B0300030000000000" pitchFamily="34" charset="-18"/>
            </a:endParaRPr>
          </a:p>
          <a:p>
            <a:pPr marL="0" indent="0">
              <a:lnSpc>
                <a:spcPct val="95000"/>
              </a:lnSpc>
              <a:buNone/>
            </a:pPr>
            <a:r>
              <a:rPr lang="pl-PL" dirty="0">
                <a:latin typeface="voestalpine Light" panose="020B0300030000000000" pitchFamily="34" charset="-18"/>
              </a:rPr>
              <a:t>Dostępne w opakowaniach 20 kg, 240 kg i 1200 kg.</a:t>
            </a:r>
            <a:endParaRPr lang="en-GB" dirty="0">
              <a:latin typeface="voestalpine Light" panose="020B0300030000000000" pitchFamily="34" charset="-18"/>
            </a:endParaRPr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1FDE7AF6-C0AD-6FF5-0D02-718DFA706DE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84" y="339026"/>
            <a:ext cx="6841499" cy="8905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rmAutofit/>
          </a:bodyPr>
          <a:lstStyle/>
          <a:p>
            <a:pPr>
              <a:lnSpc>
                <a:spcPts val="3199"/>
              </a:lnSpc>
            </a:pPr>
            <a:br>
              <a:rPr lang="en-GB" dirty="0"/>
            </a:br>
            <a:r>
              <a:rPr lang="en-GB" sz="2175" dirty="0"/>
              <a:t>Pickling bath - product portfolio</a:t>
            </a:r>
          </a:p>
        </p:txBody>
      </p:sp>
      <p:sp>
        <p:nvSpPr>
          <p:cNvPr id="13" name="Platshållare för bildnummer 5">
            <a:extLst>
              <a:ext uri="{FF2B5EF4-FFF2-40B4-BE49-F238E27FC236}">
                <a16:creationId xmlns:a16="http://schemas.microsoft.com/office/drawing/2014/main" id="{7A824A84-3A9A-3582-8749-F0FF8AACC787}"/>
              </a:ext>
            </a:extLst>
          </p:cNvPr>
          <p:cNvSpPr txBox="1"/>
          <p:nvPr/>
        </p:nvSpPr>
        <p:spPr>
          <a:xfrm>
            <a:off x="256112" y="5565246"/>
            <a:ext cx="285752" cy="2738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no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4F5AFFF-3E50-4BB0-8B8B-D1E6AE6789EA}" type="slidenum">
              <a:rPr lang="de-AT" sz="900">
                <a:solidFill>
                  <a:srgbClr val="333333"/>
                </a:solidFill>
                <a:latin typeface="voestalpine" pitchFamily="34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4</a:t>
            </a:fld>
            <a:endParaRPr lang="de-AT" sz="900">
              <a:solidFill>
                <a:srgbClr val="333333"/>
              </a:solidFill>
              <a:latin typeface="voestalpine" pitchFamily="34"/>
            </a:endParaRPr>
          </a:p>
        </p:txBody>
      </p:sp>
      <p:pic>
        <p:nvPicPr>
          <p:cNvPr id="17" name="Picture 16" descr="A close-up of a machine&#10;&#10;Description automatically generated">
            <a:extLst>
              <a:ext uri="{FF2B5EF4-FFF2-40B4-BE49-F238E27FC236}">
                <a16:creationId xmlns:a16="http://schemas.microsoft.com/office/drawing/2014/main" id="{87F6C711-F91B-6F98-DB8A-0DCF239CA86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737" y="1964598"/>
            <a:ext cx="4673236" cy="2628695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2">
            <a:extLst>
              <a:ext uri="{FF2B5EF4-FFF2-40B4-BE49-F238E27FC236}">
                <a16:creationId xmlns:a16="http://schemas.microsoft.com/office/drawing/2014/main" id="{B0E06776-8EB2-6CA7-C9D7-DE615BE4F97E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91" y="2135252"/>
            <a:ext cx="5256211" cy="30415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marL="0" indent="0">
              <a:buNone/>
            </a:pPr>
            <a:r>
              <a:rPr lang="pl-PL" dirty="0">
                <a:latin typeface="voestalpine Light" panose="020B0300030000000000" pitchFamily="34" charset="-18"/>
              </a:rPr>
              <a:t>Produkt standardowy:</a:t>
            </a:r>
          </a:p>
          <a:p>
            <a:pPr marL="0" indent="0">
              <a:buNone/>
            </a:pPr>
            <a:r>
              <a:rPr lang="pl-PL" dirty="0" err="1">
                <a:latin typeface="voestalpine Light" panose="020B0300030000000000" pitchFamily="34" charset="-18"/>
              </a:rPr>
              <a:t>Passivator</a:t>
            </a:r>
            <a:r>
              <a:rPr lang="pl-PL" dirty="0">
                <a:latin typeface="voestalpine Light" panose="020B0300030000000000" pitchFamily="34" charset="-18"/>
              </a:rPr>
              <a:t> 601</a:t>
            </a:r>
          </a:p>
          <a:p>
            <a:pPr marL="0" indent="0">
              <a:buNone/>
            </a:pPr>
            <a:r>
              <a:rPr lang="pl-PL" dirty="0">
                <a:latin typeface="voestalpine Light" panose="020B0300030000000000" pitchFamily="34" charset="-18"/>
              </a:rPr>
              <a:t>Opakowanie: 20 kg, 1100 kg</a:t>
            </a:r>
          </a:p>
          <a:p>
            <a:pPr marL="0" indent="0">
              <a:buNone/>
            </a:pPr>
            <a:endParaRPr lang="pl-PL" dirty="0">
              <a:latin typeface="voestalpine Light" panose="020B0300030000000000" pitchFamily="34" charset="-18"/>
            </a:endParaRPr>
          </a:p>
          <a:p>
            <a:pPr marL="0" indent="0">
              <a:buNone/>
            </a:pPr>
            <a:r>
              <a:rPr lang="pl-PL" dirty="0">
                <a:latin typeface="voestalpine Light" panose="020B0300030000000000" pitchFamily="34" charset="-18"/>
              </a:rPr>
              <a:t>Produkt bezpieczny dla środowiska i dla człowieka:</a:t>
            </a:r>
          </a:p>
          <a:p>
            <a:pPr marL="0" indent="0">
              <a:buNone/>
            </a:pPr>
            <a:r>
              <a:rPr lang="pl-PL" dirty="0" err="1">
                <a:latin typeface="voestalpine Light" panose="020B0300030000000000" pitchFamily="34" charset="-18"/>
              </a:rPr>
              <a:t>Passivator</a:t>
            </a:r>
            <a:r>
              <a:rPr lang="pl-PL" dirty="0">
                <a:latin typeface="voestalpine Light" panose="020B0300030000000000" pitchFamily="34" charset="-18"/>
              </a:rPr>
              <a:t> </a:t>
            </a:r>
            <a:r>
              <a:rPr lang="pl-PL" dirty="0" err="1">
                <a:latin typeface="voestalpine Light" panose="020B0300030000000000" pitchFamily="34" charset="-18"/>
              </a:rPr>
              <a:t>FinishOne</a:t>
            </a:r>
            <a:r>
              <a:rPr lang="pl-PL" dirty="0">
                <a:latin typeface="voestalpine Light" panose="020B0300030000000000" pitchFamily="34" charset="-18"/>
              </a:rPr>
              <a:t> 630</a:t>
            </a:r>
          </a:p>
          <a:p>
            <a:pPr marL="0" indent="0">
              <a:buNone/>
            </a:pPr>
            <a:r>
              <a:rPr lang="pl-PL" dirty="0">
                <a:latin typeface="voestalpine Light" panose="020B0300030000000000" pitchFamily="34" charset="-18"/>
              </a:rPr>
              <a:t>Opakowanie: 20 kg, 1000 kg</a:t>
            </a:r>
            <a:endParaRPr lang="en-GB" dirty="0">
              <a:latin typeface="voestalpine Light" panose="020B0300030000000000" pitchFamily="34" charset="-18"/>
            </a:endParaRPr>
          </a:p>
        </p:txBody>
      </p:sp>
      <p:pic>
        <p:nvPicPr>
          <p:cNvPr id="4" name="Bildobjekt 6">
            <a:extLst>
              <a:ext uri="{FF2B5EF4-FFF2-40B4-BE49-F238E27FC236}">
                <a16:creationId xmlns:a16="http://schemas.microsoft.com/office/drawing/2014/main" id="{9D9E5116-9C28-CDB7-AB22-67ABAFBEC4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3418" y="2024193"/>
            <a:ext cx="1879167" cy="280960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CDBD7BE9-892F-B55C-18BF-89F21C5186F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91" y="331278"/>
            <a:ext cx="6608705" cy="8905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rmAutofit/>
          </a:bodyPr>
          <a:lstStyle/>
          <a:p>
            <a:pPr>
              <a:lnSpc>
                <a:spcPts val="3199"/>
              </a:lnSpc>
            </a:pPr>
            <a:br>
              <a:rPr lang="en-GB" dirty="0"/>
            </a:br>
            <a:r>
              <a:rPr lang="en-GB" dirty="0"/>
              <a:t>Passivation - product portfolio</a:t>
            </a:r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08A82A6E-5A3C-5142-456D-3469AD9B266F}"/>
              </a:ext>
            </a:extLst>
          </p:cNvPr>
          <p:cNvSpPr txBox="1"/>
          <p:nvPr/>
        </p:nvSpPr>
        <p:spPr>
          <a:xfrm>
            <a:off x="256112" y="5565246"/>
            <a:ext cx="285752" cy="2738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no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4F5AFFF-3E50-4BB0-8B8B-D1E6AE6789EA}" type="slidenum">
              <a:rPr lang="de-AT" sz="900">
                <a:solidFill>
                  <a:srgbClr val="333333"/>
                </a:solidFill>
                <a:latin typeface="voestalpine" pitchFamily="34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5</a:t>
            </a:fld>
            <a:endParaRPr lang="de-AT" sz="900">
              <a:solidFill>
                <a:srgbClr val="333333"/>
              </a:solidFill>
              <a:latin typeface="voestalpine" pitchFamily="34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9">
            <a:extLst>
              <a:ext uri="{FF2B5EF4-FFF2-40B4-BE49-F238E27FC236}">
                <a16:creationId xmlns:a16="http://schemas.microsoft.com/office/drawing/2014/main" id="{ED5EA100-12DE-C856-073C-7545A0EA93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24677" y="2135252"/>
            <a:ext cx="2463737" cy="146615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Bildobjekt 7">
            <a:extLst>
              <a:ext uri="{FF2B5EF4-FFF2-40B4-BE49-F238E27FC236}">
                <a16:creationId xmlns:a16="http://schemas.microsoft.com/office/drawing/2014/main" id="{2FAA2D56-60BA-7240-D4A6-5A6F40EFF3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340" y="1709528"/>
            <a:ext cx="3506749" cy="233783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Platshållare för innehåll 2">
            <a:extLst>
              <a:ext uri="{FF2B5EF4-FFF2-40B4-BE49-F238E27FC236}">
                <a16:creationId xmlns:a16="http://schemas.microsoft.com/office/drawing/2014/main" id="{C5A19650-2064-6ACF-61CF-C21E1990167D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55591" y="2135252"/>
            <a:ext cx="3506749" cy="304159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lvl="0"/>
            <a:r>
              <a:rPr lang="pl-PL" dirty="0">
                <a:latin typeface="voestalpine Light" panose="020B0300030000000000" pitchFamily="34" charset="-18"/>
              </a:rPr>
              <a:t>System natryskowy do naszych produktów płynnych SP-25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Akcesoria do systemu natryskowego, takie jak dysze, części zamienne.</a:t>
            </a: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Proste mieszadło</a:t>
            </a:r>
          </a:p>
          <a:p>
            <a:pPr lvl="0"/>
            <a:endParaRPr lang="pl-PL" dirty="0">
              <a:latin typeface="voestalpine Light" panose="020B0300030000000000" pitchFamily="34" charset="-18"/>
            </a:endParaRPr>
          </a:p>
          <a:p>
            <a:pPr lvl="0"/>
            <a:r>
              <a:rPr lang="pl-PL" dirty="0">
                <a:latin typeface="voestalpine Light" panose="020B0300030000000000" pitchFamily="34" charset="-18"/>
              </a:rPr>
              <a:t>Pędzel do pasty do trawienia (pędzel dołączona do produktu 2,4 kg).</a:t>
            </a:r>
            <a:endParaRPr lang="en-GB" dirty="0">
              <a:latin typeface="voestalpine Light" panose="020B0300030000000000" pitchFamily="34" charset="-18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E281D9-4426-E7AA-7CBA-295CDC6CDE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91" y="292399"/>
            <a:ext cx="6049963" cy="89055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rmAutofit/>
          </a:bodyPr>
          <a:lstStyle/>
          <a:p>
            <a:pPr>
              <a:lnSpc>
                <a:spcPts val="3199"/>
              </a:lnSpc>
            </a:pPr>
            <a:br>
              <a:rPr lang="en-US" dirty="0"/>
            </a:br>
            <a:r>
              <a:rPr lang="pl-PL" sz="2175" dirty="0"/>
              <a:t>Akcesoria</a:t>
            </a:r>
            <a:endParaRPr lang="en-US" sz="2175" dirty="0"/>
          </a:p>
        </p:txBody>
      </p:sp>
      <p:pic>
        <p:nvPicPr>
          <p:cNvPr id="7" name="Platshållare för innehåll 6">
            <a:extLst>
              <a:ext uri="{FF2B5EF4-FFF2-40B4-BE49-F238E27FC236}">
                <a16:creationId xmlns:a16="http://schemas.microsoft.com/office/drawing/2014/main" id="{7BDA27D9-C126-715D-7982-74883F06E11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913" y="2987515"/>
            <a:ext cx="4031303" cy="268753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Picture 15">
            <a:extLst>
              <a:ext uri="{FF2B5EF4-FFF2-40B4-BE49-F238E27FC236}">
                <a16:creationId xmlns:a16="http://schemas.microsoft.com/office/drawing/2014/main" id="{9EC65873-342F-AF4F-D19A-9E11E7C05B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461" y="3928036"/>
            <a:ext cx="2664196" cy="1027287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EE36C81B-D8AA-4EE6-1206-AEB8BB13A406}"/>
              </a:ext>
            </a:extLst>
          </p:cNvPr>
          <p:cNvSpPr txBox="1"/>
          <p:nvPr/>
        </p:nvSpPr>
        <p:spPr>
          <a:xfrm>
            <a:off x="256112" y="5565246"/>
            <a:ext cx="285752" cy="2738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no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4F5AFFF-3E50-4BB0-8B8B-D1E6AE6789EA}" type="slidenum">
              <a:rPr lang="de-AT" sz="900">
                <a:solidFill>
                  <a:srgbClr val="333333"/>
                </a:solidFill>
                <a:latin typeface="voestalpine" pitchFamily="34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6</a:t>
            </a:fld>
            <a:endParaRPr lang="de-AT" sz="900">
              <a:solidFill>
                <a:srgbClr val="333333"/>
              </a:solidFill>
              <a:latin typeface="voestalpine" pitchFamily="34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9"/>
            <a:ext cx="7651750" cy="383319"/>
          </a:xfrm>
        </p:spPr>
        <p:txBody>
          <a:bodyPr/>
          <a:lstStyle/>
          <a:p>
            <a:pPr algn="ctr"/>
            <a:r>
              <a:rPr lang="pl-PL" sz="2400" dirty="0" err="1">
                <a:latin typeface="voestalpine Light" panose="020B0300030000000000" pitchFamily="34" charset="-18"/>
              </a:rPr>
              <a:t>Avesta</a:t>
            </a:r>
            <a:r>
              <a:rPr lang="pl-PL" sz="2400" dirty="0">
                <a:latin typeface="voestalpine Light" panose="020B0300030000000000" pitchFamily="34" charset="-18"/>
              </a:rPr>
              <a:t> </a:t>
            </a:r>
            <a:r>
              <a:rPr lang="pl-PL" sz="2400" dirty="0" err="1">
                <a:latin typeface="voestalpine Light" panose="020B0300030000000000" pitchFamily="34" charset="-18"/>
              </a:rPr>
              <a:t>MolyDrop</a:t>
            </a:r>
            <a:r>
              <a:rPr lang="pl-PL" sz="2400" dirty="0">
                <a:latin typeface="voestalpine Light" panose="020B0300030000000000" pitchFamily="34" charset="-18"/>
              </a:rPr>
              <a:t> 960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pic>
        <p:nvPicPr>
          <p:cNvPr id="8" name="Obraz 7" descr="Obraz zawierający Przezroczystość, Folia spożywcza, plastik, Plastikowa torebka&#10;&#10;Opis wygenerowany automatycznie">
            <a:extLst>
              <a:ext uri="{FF2B5EF4-FFF2-40B4-BE49-F238E27FC236}">
                <a16:creationId xmlns:a16="http://schemas.microsoft.com/office/drawing/2014/main" id="{4177DB8A-1643-AABA-F205-04A8D974BF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76" y="1659721"/>
            <a:ext cx="2719952" cy="3626603"/>
          </a:xfrm>
          <a:prstGeom prst="rect">
            <a:avLst/>
          </a:prstGeom>
        </p:spPr>
      </p:pic>
      <p:pic>
        <p:nvPicPr>
          <p:cNvPr id="10" name="Obraz 9" descr="Obraz zawierający Przezroczystość, Folia spożywcza, plastik, w pomieszczeniu&#10;&#10;Opis wygenerowany automatycznie">
            <a:extLst>
              <a:ext uri="{FF2B5EF4-FFF2-40B4-BE49-F238E27FC236}">
                <a16:creationId xmlns:a16="http://schemas.microsoft.com/office/drawing/2014/main" id="{D0BE2404-B056-D843-333A-EFF948B96E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9341" y="1659721"/>
            <a:ext cx="2719952" cy="3626602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63C1CB5C-8D1E-2313-B467-5FE2CD3D9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9021" y="2255268"/>
            <a:ext cx="2406295" cy="199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712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l-PL" dirty="0">
                <a:solidFill>
                  <a:schemeClr val="hlink"/>
                </a:solidFill>
              </a:rPr>
              <a:t>PORADNIK  TRAWIENIA  AVESTA</a:t>
            </a:r>
            <a:endParaRPr lang="en-GB" dirty="0">
              <a:solidFill>
                <a:schemeClr val="hlink"/>
              </a:solidFill>
            </a:endParaRPr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>
              <a:solidFill>
                <a:schemeClr val="folHlink"/>
              </a:solidFill>
            </a:endParaRPr>
          </a:p>
          <a:p>
            <a:pPr>
              <a:spcBef>
                <a:spcPct val="50000"/>
              </a:spcBef>
              <a:buClr>
                <a:schemeClr val="folHlink"/>
              </a:buClr>
            </a:pPr>
            <a:endParaRPr lang="en-GB" dirty="0"/>
          </a:p>
        </p:txBody>
      </p:sp>
      <p:pic>
        <p:nvPicPr>
          <p:cNvPr id="45117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9931" y="1384678"/>
            <a:ext cx="3320562" cy="473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25141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0778E5D-7D23-23CE-25B0-C33864BEB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D701CFA7-B3AB-351C-1253-CA13F0D20E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2ECDBCFF-4B05-CF31-95E8-548F641659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AB63341D-7642-5394-9D33-D2CF2D7C198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BC84B203-2EEA-16AF-A173-3970FF8F6AD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33C7D274-83EE-E1B4-0A82-AD6BC467C4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pic>
        <p:nvPicPr>
          <p:cNvPr id="52226" name="Picture 2">
            <a:extLst>
              <a:ext uri="{FF2B5EF4-FFF2-40B4-BE49-F238E27FC236}">
                <a16:creationId xmlns:a16="http://schemas.microsoft.com/office/drawing/2014/main" id="{933A4BD9-5DCB-6A52-C817-9C4D86360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560" y="719931"/>
            <a:ext cx="6858386" cy="5143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6996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9AD9F99-C767-773E-0948-D8F9E295E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800" dirty="0">
                <a:latin typeface="voestalpine Light" panose="020B0300030000000000" pitchFamily="34" charset="-18"/>
              </a:rPr>
              <a:t>Korzyści ze współpracy z </a:t>
            </a:r>
            <a:r>
              <a:rPr lang="pl-PL" sz="2800" dirty="0" err="1">
                <a:latin typeface="voestalpine Light" panose="020B0300030000000000" pitchFamily="34" charset="-18"/>
              </a:rPr>
              <a:t>voestalpine</a:t>
            </a:r>
            <a:r>
              <a:rPr lang="pl-PL" sz="2800" dirty="0">
                <a:latin typeface="voestalpine Light" panose="020B0300030000000000" pitchFamily="34" charset="-18"/>
              </a:rPr>
              <a:t> </a:t>
            </a:r>
            <a:r>
              <a:rPr lang="pl-PL" sz="2800" dirty="0" err="1">
                <a:latin typeface="voestalpine Light" panose="020B0300030000000000" pitchFamily="34" charset="-18"/>
              </a:rPr>
              <a:t>weldCare</a:t>
            </a:r>
            <a:endParaRPr lang="pl-PL" dirty="0">
              <a:latin typeface="voestalpine Light" panose="020B0300030000000000" pitchFamily="34" charset="-18"/>
            </a:endParaRPr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D0680715-B9A1-AA1C-25C0-232D28550C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7A7F21-6994-46F9-9560-5C7070301530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5908429-FDA0-0B14-0AA2-CF699A931E2D}"/>
              </a:ext>
            </a:extLst>
          </p:cNvPr>
          <p:cNvSpPr txBox="1">
            <a:spLocks/>
          </p:cNvSpPr>
          <p:nvPr/>
        </p:nvSpPr>
        <p:spPr bwMode="auto">
          <a:xfrm>
            <a:off x="209750" y="1144612"/>
            <a:ext cx="8611373" cy="792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31DAFEE8-5614-8CC0-4880-7BCC6A1CEFB6}"/>
              </a:ext>
            </a:extLst>
          </p:cNvPr>
          <p:cNvSpPr txBox="1">
            <a:spLocks/>
          </p:cNvSpPr>
          <p:nvPr/>
        </p:nvSpPr>
        <p:spPr>
          <a:xfrm>
            <a:off x="266313" y="2084498"/>
            <a:ext cx="8611373" cy="3312529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algn="l" rtl="0" fontAlgn="base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2425" indent="-352425" algn="l" rtl="0" fontAlgn="base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0082B4"/>
              </a:buClr>
              <a:buSzPct val="80000"/>
              <a:buFont typeface="Wingdings" pitchFamily="2" charset="2"/>
              <a:buChar char="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6588" indent="-284163" algn="l" rtl="0" fontAlgn="base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0082B4"/>
              </a:buClr>
              <a:buSzPct val="80000"/>
              <a:buFont typeface="Wingdings" pitchFamily="2" charset="2"/>
              <a:buChar char=""/>
              <a:defRPr lang="de-DE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3288" indent="-265113" algn="l" rtl="0" fontAlgn="base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0082B4"/>
              </a:buClr>
              <a:buSzPct val="80000"/>
              <a:buFont typeface="Wingdings" pitchFamily="2" charset="2"/>
              <a:buChar char="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265113" algn="l" rtl="0" fontAlgn="base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rgbClr val="0082B4"/>
              </a:buClr>
              <a:buSzPct val="80000"/>
              <a:buFont typeface="Wingdings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>
                <a:latin typeface="voestalpine Light" panose="020B0300030000000000" pitchFamily="34" charset="-18"/>
              </a:rPr>
              <a:t>60 </a:t>
            </a:r>
            <a:r>
              <a:rPr lang="pl-PL" dirty="0">
                <a:latin typeface="voestalpine Light" panose="020B0300030000000000" pitchFamily="34" charset="-18"/>
              </a:rPr>
              <a:t>doświadczenia w produkcji środków do trawienia i pasywacji stali nierdzewnej</a:t>
            </a:r>
            <a:endParaRPr lang="en-US" dirty="0">
              <a:latin typeface="voestalpine Light" panose="020B0300030000000000" pitchFamily="34" charset="-18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dirty="0">
                <a:latin typeface="voestalpine Light" panose="020B0300030000000000" pitchFamily="34" charset="-18"/>
              </a:rPr>
              <a:t>Neutralna dla środowiska fabryka</a:t>
            </a:r>
            <a:endParaRPr lang="en-US" dirty="0">
              <a:latin typeface="voestalpine Light" panose="020B0300030000000000" pitchFamily="34" charset="-18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dirty="0">
                <a:latin typeface="voestalpine Light" panose="020B0300030000000000" pitchFamily="34" charset="-18"/>
              </a:rPr>
              <a:t>Kompletne</a:t>
            </a:r>
            <a:r>
              <a:rPr lang="en-US" dirty="0">
                <a:latin typeface="voestalpine Light" panose="020B0300030000000000" pitchFamily="34" charset="-18"/>
              </a:rPr>
              <a:t> portfolio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dirty="0">
                <a:latin typeface="voestalpine Light" panose="020B0300030000000000" pitchFamily="34" charset="-18"/>
              </a:rPr>
              <a:t>Zredukowana do minimów ilość lotnych związków </a:t>
            </a:r>
            <a:r>
              <a:rPr lang="en-US" dirty="0" err="1">
                <a:latin typeface="voestalpine Light" panose="020B0300030000000000" pitchFamily="34" charset="-18"/>
              </a:rPr>
              <a:t>No</a:t>
            </a:r>
            <a:r>
              <a:rPr lang="en-US" baseline="-25000" dirty="0" err="1">
                <a:latin typeface="voestalpine Light" panose="020B0300030000000000" pitchFamily="34" charset="-18"/>
              </a:rPr>
              <a:t>x</a:t>
            </a:r>
            <a:endParaRPr lang="pl-PL" baseline="-25000" dirty="0">
              <a:latin typeface="voestalpine Light" panose="020B0300030000000000" pitchFamily="34" charset="-18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dirty="0">
                <a:latin typeface="voestalpine Light" panose="020B0300030000000000" pitchFamily="34" charset="-18"/>
              </a:rPr>
              <a:t>Jeden z produktów w 100% neutralny dla środowiska i bezpieczny dla człowiek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dirty="0">
                <a:latin typeface="voestalpine Light" panose="020B0300030000000000" pitchFamily="34" charset="-18"/>
              </a:rPr>
              <a:t>Doskonała przyczepność i wysoka wydajność </a:t>
            </a:r>
            <a:r>
              <a:rPr lang="en-US" dirty="0">
                <a:latin typeface="voestalpine Light" panose="020B0300030000000000" pitchFamily="34" charset="-18"/>
              </a:rPr>
              <a:t>(</a:t>
            </a:r>
            <a:r>
              <a:rPr lang="pl-PL" dirty="0">
                <a:latin typeface="voestalpine Light" panose="020B0300030000000000" pitchFamily="34" charset="-18"/>
              </a:rPr>
              <a:t>m2/kg</a:t>
            </a:r>
            <a:r>
              <a:rPr lang="en-US" dirty="0">
                <a:latin typeface="voestalpine Light" panose="020B0300030000000000" pitchFamily="34" charset="-18"/>
              </a:rPr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dirty="0">
                <a:latin typeface="voestalpine Light" panose="020B0300030000000000" pitchFamily="34" charset="-18"/>
              </a:rPr>
              <a:t>Opakowanie wysokiej jakości i bezpieczne w użytkowaniu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l-PL" dirty="0">
                <a:latin typeface="voestalpine Light" panose="020B0300030000000000" pitchFamily="34" charset="-18"/>
              </a:rPr>
              <a:t>Konsultacje, szkolenia, prezentacje</a:t>
            </a:r>
            <a:endParaRPr lang="en-US" dirty="0">
              <a:latin typeface="voestalpine Light" panose="020B0300030000000000" pitchFamily="34" charset="-18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dirty="0">
              <a:latin typeface="voestalpine Light" panose="020B0300030000000000" pitchFamily="34" charset="-18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dirty="0">
              <a:latin typeface="voestalpine Light" panose="020B0300030000000000" pitchFamily="34" charset="-18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dirty="0">
              <a:latin typeface="voestalpine Light" panose="020B0300030000000000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8787722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C551A1-316F-3205-795E-94526B77B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CFFD06D7-CB7E-5B68-617F-665077F05E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3F7639FE-D75D-8125-B3FD-0DC3F25A99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52BB85A0-2C97-B760-D095-E9B842E7284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84F04647-4E54-E51E-5F84-EC1FD12E09D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3CA46467-92B5-8FF9-BF00-0A9A8AE7A7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  <p:pic>
        <p:nvPicPr>
          <p:cNvPr id="53250" name="Picture 2">
            <a:extLst>
              <a:ext uri="{FF2B5EF4-FFF2-40B4-BE49-F238E27FC236}">
                <a16:creationId xmlns:a16="http://schemas.microsoft.com/office/drawing/2014/main" id="{21A8E259-DF69-7E5C-8C5B-1028B9A26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420" y="598487"/>
            <a:ext cx="7055423" cy="5291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56171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73C7273-0EAD-28C4-0E4B-3620E5AF0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E1EA27AF-A440-11A6-84FC-37FD1C19F2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2FE6084-CA83-3714-F3FE-B0411DF3E7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7A2CAABF-113A-C356-F6E1-8A9F8F943F3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6BA3A458-387F-9FD8-F46E-EB342ED70B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8B475092-81B3-AA8F-FA48-A5063DC3BAD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  <p:pic>
        <p:nvPicPr>
          <p:cNvPr id="54274" name="Picture 2">
            <a:extLst>
              <a:ext uri="{FF2B5EF4-FFF2-40B4-BE49-F238E27FC236}">
                <a16:creationId xmlns:a16="http://schemas.microsoft.com/office/drawing/2014/main" id="{347462B9-A7C8-EADA-48E7-484066141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925" y="555625"/>
            <a:ext cx="7207549" cy="5405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96186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CDE9FBEA-6931-7440-360F-4B93BE51BBE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BFCD5F8B-B706-0FA9-222A-7D6ADAB4DB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84C42C4E-AE28-349B-6172-3C901818958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  <p:pic>
        <p:nvPicPr>
          <p:cNvPr id="9" name="Obraz 8" descr="Obraz zawierający w pomieszczeniu, Sprzęt medyczny, Laboratorium, ściana&#10;&#10;Opis wygenerowany automatycznie">
            <a:extLst>
              <a:ext uri="{FF2B5EF4-FFF2-40B4-BE49-F238E27FC236}">
                <a16:creationId xmlns:a16="http://schemas.microsoft.com/office/drawing/2014/main" id="{36802552-34B8-AD34-CA54-80A378CA04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91" y="1139125"/>
            <a:ext cx="8582617" cy="482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6793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CDE9FBEA-6931-7440-360F-4B93BE51BBE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BFCD5F8B-B706-0FA9-222A-7D6ADAB4DB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84C42C4E-AE28-349B-6172-3C901818958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  <p:pic>
        <p:nvPicPr>
          <p:cNvPr id="8" name="Obraz 7" descr="Obraz zawierający w pomieszczeniu, ściana, Czystość, podłoga&#10;&#10;Opis wygenerowany automatycznie">
            <a:extLst>
              <a:ext uri="{FF2B5EF4-FFF2-40B4-BE49-F238E27FC236}">
                <a16:creationId xmlns:a16="http://schemas.microsoft.com/office/drawing/2014/main" id="{CDADF2DD-9864-D64F-8DEC-121E817867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64" y="1031606"/>
            <a:ext cx="8594670" cy="4834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9480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CDE9FBEA-6931-7440-360F-4B93BE51BBE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BFCD5F8B-B706-0FA9-222A-7D6ADAB4DB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84C42C4E-AE28-349B-6172-3C901818958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  <p:pic>
        <p:nvPicPr>
          <p:cNvPr id="3" name="Obraz 2" descr="Obraz zawierający osoba, ubrania, człowiek, płaszcz&#10;&#10;Opis wygenerowany automatycznie">
            <a:extLst>
              <a:ext uri="{FF2B5EF4-FFF2-40B4-BE49-F238E27FC236}">
                <a16:creationId xmlns:a16="http://schemas.microsoft.com/office/drawing/2014/main" id="{4B4ECBC0-3D21-DEFF-AC32-962A2D1335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43" y="1049041"/>
            <a:ext cx="8494793" cy="4778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0187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2484A952-512E-1117-BC6E-6BC81C55BD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359" y="5086754"/>
            <a:ext cx="8496300" cy="158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r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buClr>
                <a:srgbClr val="0082B6"/>
              </a:buClr>
              <a:buSzPct val="80000"/>
              <a:buFont typeface="Wingdings" pitchFamily="2" charset="2"/>
              <a:buNone/>
            </a:pPr>
            <a:r>
              <a:rPr lang="pl-PL" altLang="sv-SE" sz="2800" b="1" dirty="0">
                <a:solidFill>
                  <a:schemeClr val="bg2">
                    <a:lumMod val="25000"/>
                  </a:schemeClr>
                </a:solidFill>
                <a:latin typeface="voestalpine Light" panose="020B0300030000000000" pitchFamily="34" charset="-18"/>
              </a:rPr>
              <a:t>Paweł Poźniak</a:t>
            </a:r>
            <a:endParaRPr lang="en-US" altLang="sv-SE" sz="2800" b="1" dirty="0">
              <a:solidFill>
                <a:schemeClr val="bg2">
                  <a:lumMod val="25000"/>
                </a:schemeClr>
              </a:solidFill>
              <a:latin typeface="voestalpine Light" panose="020B0300030000000000" pitchFamily="34" charset="-18"/>
            </a:endParaRPr>
          </a:p>
          <a:p>
            <a:pPr>
              <a:lnSpc>
                <a:spcPct val="105000"/>
              </a:lnSpc>
              <a:buClr>
                <a:srgbClr val="0082B6"/>
              </a:buClr>
              <a:buSzPct val="80000"/>
              <a:buFont typeface="Wingdings" pitchFamily="2" charset="2"/>
              <a:buNone/>
            </a:pPr>
            <a:r>
              <a:rPr lang="en-US" altLang="sv-SE" sz="2800" b="1" dirty="0">
                <a:solidFill>
                  <a:schemeClr val="bg2">
                    <a:lumMod val="25000"/>
                  </a:schemeClr>
                </a:solidFill>
                <a:latin typeface="voestalpine Light" panose="020B0300030000000000" pitchFamily="34" charset="-18"/>
              </a:rPr>
              <a:t>T. </a:t>
            </a:r>
            <a:r>
              <a:rPr lang="pl-PL" altLang="sv-SE" sz="2800" b="1" dirty="0">
                <a:solidFill>
                  <a:schemeClr val="bg2">
                    <a:lumMod val="25000"/>
                  </a:schemeClr>
                </a:solidFill>
                <a:latin typeface="voestalpine Light" panose="020B0300030000000000" pitchFamily="34" charset="-18"/>
              </a:rPr>
              <a:t>+48 606 628 919</a:t>
            </a:r>
            <a:endParaRPr lang="en-US" altLang="sv-SE" sz="2800" b="1" dirty="0">
              <a:solidFill>
                <a:schemeClr val="bg2">
                  <a:lumMod val="25000"/>
                </a:schemeClr>
              </a:solidFill>
              <a:latin typeface="voestalpine Light" panose="020B0300030000000000" pitchFamily="34" charset="-18"/>
            </a:endParaRPr>
          </a:p>
          <a:p>
            <a:pPr>
              <a:lnSpc>
                <a:spcPct val="105000"/>
              </a:lnSpc>
              <a:buClr>
                <a:srgbClr val="0082B6"/>
              </a:buClr>
              <a:buSzPct val="80000"/>
              <a:buFont typeface="Wingdings" pitchFamily="2" charset="2"/>
              <a:buNone/>
            </a:pPr>
            <a:r>
              <a:rPr lang="pl-PL" altLang="sv-SE" sz="2800" b="1" dirty="0">
                <a:solidFill>
                  <a:schemeClr val="bg2">
                    <a:lumMod val="25000"/>
                  </a:schemeClr>
                </a:solidFill>
                <a:latin typeface="voestalpine Light" panose="020B0300030000000000" pitchFamily="34" charset="-18"/>
              </a:rPr>
              <a:t>pawel.pozniak@voestalpine.com</a:t>
            </a:r>
            <a:endParaRPr lang="en-US" altLang="sv-SE" sz="2800" b="1" dirty="0">
              <a:solidFill>
                <a:schemeClr val="bg2">
                  <a:lumMod val="25000"/>
                </a:schemeClr>
              </a:solidFill>
              <a:latin typeface="voestalpine Light" panose="020B0300030000000000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4225304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9"/>
            <a:ext cx="7651750" cy="559165"/>
          </a:xfrm>
        </p:spPr>
        <p:txBody>
          <a:bodyPr/>
          <a:lstStyle/>
          <a:p>
            <a:pPr algn="ctr"/>
            <a:r>
              <a:rPr lang="pl-PL" b="1" dirty="0">
                <a:latin typeface="voestalpine Light" panose="020B0300030000000000" pitchFamily="34" charset="-18"/>
              </a:rPr>
              <a:t>Proces trawienia oraz pasywacji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id="{E11DFA89-CEA0-090F-FA10-A170202D3CFB}"/>
              </a:ext>
            </a:extLst>
          </p:cNvPr>
          <p:cNvSpPr txBox="1"/>
          <p:nvPr/>
        </p:nvSpPr>
        <p:spPr>
          <a:xfrm>
            <a:off x="340787" y="3977676"/>
            <a:ext cx="2698975" cy="76944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1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Paste/Gel:</a:t>
            </a:r>
            <a:br>
              <a:rPr lang="en-US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</a:br>
            <a:r>
              <a:rPr lang="pl-PL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Tylko do spoin lub mniejszych obszarów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pl-PL" sz="1000" b="0" i="0" u="none" strike="noStrike" kern="1200" cap="none" spc="0" baseline="0" dirty="0">
              <a:solidFill>
                <a:srgbClr val="333333"/>
              </a:solidFill>
              <a:uFillTx/>
              <a:latin typeface="voestalpine Light" pitchFamily="34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pl-PL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Warsztat mechaniczny, praca serwisowa, trawienie na miejscu</a:t>
            </a:r>
            <a:endParaRPr lang="en-US" sz="1000" b="0" i="0" u="none" strike="noStrike" kern="1200" cap="none" spc="0" baseline="0" dirty="0">
              <a:solidFill>
                <a:srgbClr val="333333"/>
              </a:solidFill>
              <a:uFillTx/>
              <a:latin typeface="voestalpine Light" pitchFamily="34"/>
              <a:cs typeface="Arial" pitchFamily="34"/>
            </a:endParaRPr>
          </a:p>
        </p:txBody>
      </p:sp>
      <p:sp>
        <p:nvSpPr>
          <p:cNvPr id="12" name="Text Box 4">
            <a:extLst>
              <a:ext uri="{FF2B5EF4-FFF2-40B4-BE49-F238E27FC236}">
                <a16:creationId xmlns:a16="http://schemas.microsoft.com/office/drawing/2014/main" id="{A547D9E7-0FF2-A160-0B84-7125D9632A47}"/>
              </a:ext>
            </a:extLst>
          </p:cNvPr>
          <p:cNvSpPr txBox="1"/>
          <p:nvPr/>
        </p:nvSpPr>
        <p:spPr>
          <a:xfrm>
            <a:off x="3139927" y="3977676"/>
            <a:ext cx="2698975" cy="123110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sv-SE" sz="1000" b="1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Spray:</a:t>
            </a:r>
            <a:br>
              <a:rPr lang="sv-SE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</a:br>
            <a:r>
              <a:rPr lang="pl-PL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Większe obiekty, złożone konstrukcje, materiały mieszan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pl-PL" sz="1000" b="0" i="0" u="none" strike="noStrike" kern="1200" cap="none" spc="0" baseline="0" dirty="0">
              <a:solidFill>
                <a:srgbClr val="333333"/>
              </a:solidFill>
              <a:uFillTx/>
              <a:latin typeface="voestalpine Light" pitchFamily="34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pl-PL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Większe gałęzie przemysłu lub firmy zajmujące się obróbką powierzchni, w przypadku dużych zbiorników magazynowych, trawienie na miejscu.</a:t>
            </a:r>
            <a:endParaRPr lang="sv-SE" sz="1000" b="0" i="0" u="none" strike="noStrike" kern="1200" cap="none" spc="0" baseline="0" dirty="0">
              <a:solidFill>
                <a:srgbClr val="333333"/>
              </a:solidFill>
              <a:uFillTx/>
              <a:latin typeface="voestalpine Light" pitchFamily="34"/>
              <a:cs typeface="Arial" pitchFamily="34"/>
            </a:endParaRPr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0AE52B1B-8BC5-0A7E-C5EE-0F8C28DD5E85}"/>
              </a:ext>
            </a:extLst>
          </p:cNvPr>
          <p:cNvSpPr txBox="1"/>
          <p:nvPr/>
        </p:nvSpPr>
        <p:spPr>
          <a:xfrm>
            <a:off x="5939067" y="3977676"/>
            <a:ext cx="2698975" cy="107721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pl-PL" sz="1000" b="1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Kąpiel</a:t>
            </a:r>
            <a:r>
              <a:rPr lang="sv-SE" sz="1000" b="1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:</a:t>
            </a:r>
            <a:br>
              <a:rPr lang="sv-SE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</a:br>
            <a:r>
              <a:rPr lang="pl-PL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Ekonomiczne, średniej wielkości obiekty, wiele małych obiektów.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pl-PL" sz="1000" b="0" i="0" u="none" strike="noStrike" kern="1200" cap="none" spc="0" baseline="0" dirty="0">
              <a:solidFill>
                <a:srgbClr val="333333"/>
              </a:solidFill>
              <a:uFillTx/>
              <a:latin typeface="voestalpine Light" pitchFamily="34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pl-PL" sz="1000" b="0" i="0" u="none" strike="noStrike" kern="1200" cap="none" spc="0" baseline="0" dirty="0">
                <a:solidFill>
                  <a:srgbClr val="333333"/>
                </a:solidFill>
                <a:uFillTx/>
                <a:latin typeface="voestalpine Light" pitchFamily="34"/>
                <a:cs typeface="Arial" pitchFamily="34"/>
              </a:rPr>
              <a:t>Większe gałęzie przemysłu lub firmy zajmujące się obróbką powierzchni. Możliwości automatyzacji.</a:t>
            </a:r>
            <a:endParaRPr lang="sv-SE" sz="1000" b="0" i="0" u="none" strike="noStrike" kern="1200" cap="none" spc="0" baseline="0" dirty="0">
              <a:solidFill>
                <a:srgbClr val="333333"/>
              </a:solidFill>
              <a:uFillTx/>
              <a:latin typeface="voestalpine Light" pitchFamily="34"/>
              <a:cs typeface="Arial" pitchFamily="34"/>
            </a:endParaRPr>
          </a:p>
        </p:txBody>
      </p:sp>
      <p:pic>
        <p:nvPicPr>
          <p:cNvPr id="14" name="Picture 3" descr="A person in a protective suit spraying a large metal object">
            <a:extLst>
              <a:ext uri="{FF2B5EF4-FFF2-40B4-BE49-F238E27FC236}">
                <a16:creationId xmlns:a16="http://schemas.microsoft.com/office/drawing/2014/main" id="{DB719EE5-089A-75F0-E49B-D53E9D70B0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927" y="1609232"/>
            <a:ext cx="2698975" cy="151817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5" name="Picture 5" descr="A metal container in a tank&#10;&#10;Description automatically generated">
            <a:extLst>
              <a:ext uri="{FF2B5EF4-FFF2-40B4-BE49-F238E27FC236}">
                <a16:creationId xmlns:a16="http://schemas.microsoft.com/office/drawing/2014/main" id="{505019E5-7284-ABD0-791E-F20808C2E7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067" y="1616996"/>
            <a:ext cx="2698975" cy="151817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6" name="Picture 7" descr="A person painting a pipe&#10;&#10;Description automatically generated">
            <a:extLst>
              <a:ext uri="{FF2B5EF4-FFF2-40B4-BE49-F238E27FC236}">
                <a16:creationId xmlns:a16="http://schemas.microsoft.com/office/drawing/2014/main" id="{9E71EF17-1BD8-CD49-A6BF-DE63BDF381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0787" y="1609232"/>
            <a:ext cx="2698975" cy="153108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789996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9"/>
            <a:ext cx="7651750" cy="545542"/>
          </a:xfrm>
        </p:spPr>
        <p:txBody>
          <a:bodyPr/>
          <a:lstStyle/>
          <a:p>
            <a:pPr algn="ctr"/>
            <a:r>
              <a:rPr lang="pl-PL" dirty="0">
                <a:latin typeface="voestalpine Light" panose="020B0300030000000000" pitchFamily="34" charset="-18"/>
              </a:rPr>
              <a:t>ETAP I – przygotowanie powierzchni</a:t>
            </a:r>
          </a:p>
        </p:txBody>
      </p:sp>
      <p:pic>
        <p:nvPicPr>
          <p:cNvPr id="6" name="Symbol zastępczy obrazu 5" descr="Obraz zawierający rura, cylinder, przemysł, inżynieria&#10;&#10;Opis wygenerowany automatycznie">
            <a:extLst>
              <a:ext uri="{FF2B5EF4-FFF2-40B4-BE49-F238E27FC236}">
                <a16:creationId xmlns:a16="http://schemas.microsoft.com/office/drawing/2014/main" id="{5FFD8659-7E0A-4AF6-4861-ADB1EB1B396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42" r="20342"/>
          <a:stretch>
            <a:fillRect/>
          </a:stretch>
        </p:blipFill>
        <p:spPr/>
      </p:pic>
      <p:sp>
        <p:nvSpPr>
          <p:cNvPr id="4" name="Symbol zastępczy tekstu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just"/>
            <a:r>
              <a:rPr lang="pl-PL" dirty="0">
                <a:latin typeface="voestalpine Light" panose="020B0300030000000000" pitchFamily="34" charset="-18"/>
              </a:rPr>
              <a:t>Aby przystąpić do procesu jakim jest trawienie, nanoszenie pasty / żelu trawiącego, zaleca się aby powierzchnia była wcześniej wyczyszczona chemicznie z pozostałości po obróbce metalu (stali czarnej) oraz różnego rodzaju związków organicznych. Wszelkie zabrudzenia mogą wpłynąć negatywnie na jakość trawienia i jego czas.</a:t>
            </a:r>
          </a:p>
          <a:p>
            <a:pPr algn="just"/>
            <a:endParaRPr lang="pl-PL" dirty="0">
              <a:latin typeface="voestalpine Light" panose="020B0300030000000000" pitchFamily="34" charset="-18"/>
            </a:endParaRPr>
          </a:p>
          <a:p>
            <a:pPr algn="ctr"/>
            <a:r>
              <a:rPr lang="pl-PL" dirty="0">
                <a:latin typeface="voestalpine Light" panose="020B0300030000000000" pitchFamily="34" charset="-18"/>
              </a:rPr>
              <a:t>STOSUJEMY</a:t>
            </a:r>
          </a:p>
          <a:p>
            <a:pPr algn="ctr"/>
            <a:endParaRPr lang="pl-PL" dirty="0">
              <a:latin typeface="voestalpine Light" panose="020B0300030000000000" pitchFamily="34" charset="-18"/>
            </a:endParaRPr>
          </a:p>
          <a:p>
            <a:pPr algn="ctr"/>
            <a:r>
              <a:rPr lang="pl-PL" b="1" dirty="0" err="1">
                <a:latin typeface="voestalpine Light" panose="020B0300030000000000" pitchFamily="34" charset="-18"/>
              </a:rPr>
              <a:t>Avesta</a:t>
            </a:r>
            <a:r>
              <a:rPr lang="pl-PL" b="1" dirty="0">
                <a:latin typeface="voestalpine Light" panose="020B0300030000000000" pitchFamily="34" charset="-18"/>
              </a:rPr>
              <a:t> </a:t>
            </a:r>
            <a:r>
              <a:rPr lang="pl-PL" b="1" dirty="0" err="1">
                <a:latin typeface="voestalpine Light" panose="020B0300030000000000" pitchFamily="34" charset="-18"/>
              </a:rPr>
              <a:t>Cleaner</a:t>
            </a:r>
            <a:r>
              <a:rPr lang="pl-PL" b="1" dirty="0">
                <a:latin typeface="voestalpine Light" panose="020B0300030000000000" pitchFamily="34" charset="-18"/>
              </a:rPr>
              <a:t> 401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172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8"/>
            <a:ext cx="7651750" cy="699843"/>
          </a:xfrm>
        </p:spPr>
        <p:txBody>
          <a:bodyPr/>
          <a:lstStyle/>
          <a:p>
            <a:pPr algn="ctr"/>
            <a:r>
              <a:rPr lang="pl-PL" dirty="0">
                <a:latin typeface="voestalpine Light" panose="020B0300030000000000" pitchFamily="34" charset="-18"/>
              </a:rPr>
              <a:t>ETAP II – trawienie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4"/>
          </p:nvPr>
        </p:nvSpPr>
        <p:spPr>
          <a:xfrm>
            <a:off x="3540369" y="1484313"/>
            <a:ext cx="5279781" cy="3960812"/>
          </a:xfrm>
        </p:spPr>
        <p:txBody>
          <a:bodyPr/>
          <a:lstStyle/>
          <a:p>
            <a:pPr algn="just"/>
            <a:r>
              <a:rPr lang="pl-PL" dirty="0">
                <a:latin typeface="voestalpine Light" panose="020B0300030000000000" pitchFamily="34" charset="-18"/>
              </a:rPr>
              <a:t>W zależności od aplikacji do wytrawienia tj. typu urządzenia, jego gabarytów bądź też skomplikowanej budowy należy podjąć decyzję o doborze sposobu trawienia. Wyróżniamy trzy sposoby trawienia:</a:t>
            </a:r>
          </a:p>
          <a:p>
            <a:endParaRPr lang="pl-PL" dirty="0">
              <a:latin typeface="voestalpine Light" panose="020B0300030000000000" pitchFamily="34" charset="-18"/>
            </a:endParaRPr>
          </a:p>
          <a:p>
            <a:pPr marL="342900" indent="-342900">
              <a:buAutoNum type="arabicPeriod"/>
            </a:pPr>
            <a:r>
              <a:rPr lang="pl-PL" dirty="0">
                <a:latin typeface="voestalpine Light" panose="020B0300030000000000" pitchFamily="34" charset="-18"/>
              </a:rPr>
              <a:t>Ręcznie pędzlem kwasoodpornym</a:t>
            </a:r>
          </a:p>
          <a:p>
            <a:pPr marL="342900" indent="-342900">
              <a:buAutoNum type="arabicPeriod"/>
            </a:pPr>
            <a:endParaRPr lang="pl-PL" dirty="0">
              <a:latin typeface="voestalpine Light" panose="020B0300030000000000" pitchFamily="34" charset="-18"/>
            </a:endParaRPr>
          </a:p>
          <a:p>
            <a:pPr marL="342900" indent="-342900">
              <a:buAutoNum type="arabicPeriod"/>
            </a:pPr>
            <a:endParaRPr lang="pl-PL" dirty="0">
              <a:latin typeface="voestalpine Light" panose="020B0300030000000000" pitchFamily="34" charset="-18"/>
            </a:endParaRPr>
          </a:p>
          <a:p>
            <a:pPr marL="342900" indent="-342900">
              <a:buAutoNum type="arabicPeriod"/>
            </a:pPr>
            <a:r>
              <a:rPr lang="pl-PL" dirty="0">
                <a:latin typeface="voestalpine Light" panose="020B0300030000000000" pitchFamily="34" charset="-18"/>
              </a:rPr>
              <a:t>Natryskowo za pomocą odpowiedniej pompy do kwasu</a:t>
            </a:r>
          </a:p>
          <a:p>
            <a:pPr marL="342900" indent="-342900">
              <a:buAutoNum type="arabicPeriod"/>
            </a:pPr>
            <a:endParaRPr lang="pl-PL" dirty="0">
              <a:latin typeface="voestalpine Light" panose="020B0300030000000000" pitchFamily="34" charset="-18"/>
            </a:endParaRPr>
          </a:p>
          <a:p>
            <a:pPr marL="342900" indent="-342900">
              <a:buAutoNum type="arabicPeriod"/>
            </a:pPr>
            <a:endParaRPr lang="pl-PL" dirty="0">
              <a:latin typeface="voestalpine Light" panose="020B0300030000000000" pitchFamily="34" charset="-18"/>
            </a:endParaRPr>
          </a:p>
          <a:p>
            <a:pPr marL="342900" indent="-342900">
              <a:buAutoNum type="arabicPeriod"/>
            </a:pPr>
            <a:r>
              <a:rPr lang="pl-PL" dirty="0">
                <a:latin typeface="voestalpine Light" panose="020B0300030000000000" pitchFamily="34" charset="-18"/>
              </a:rPr>
              <a:t>Zanurzeniowo w wannie wypełnionej kwasem</a:t>
            </a:r>
          </a:p>
          <a:p>
            <a:pPr algn="just"/>
            <a:endParaRPr lang="pl-PL" dirty="0">
              <a:latin typeface="voestalpine Light" panose="020B0300030000000000" pitchFamily="34" charset="-18"/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537" y="998268"/>
            <a:ext cx="2287466" cy="215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Obraz 7" descr="Obraz zawierający rura, ubranie robocze, ubrania, odzież ochronna&#10;&#10;Opis wygenerowany automatycznie">
            <a:extLst>
              <a:ext uri="{FF2B5EF4-FFF2-40B4-BE49-F238E27FC236}">
                <a16:creationId xmlns:a16="http://schemas.microsoft.com/office/drawing/2014/main" id="{D3CDEC42-4DD1-EFE0-C8A9-F7947A3363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012" y="3191452"/>
            <a:ext cx="2564517" cy="1442541"/>
          </a:xfrm>
          <a:prstGeom prst="rect">
            <a:avLst/>
          </a:prstGeom>
        </p:spPr>
      </p:pic>
      <p:pic>
        <p:nvPicPr>
          <p:cNvPr id="13" name="Obraz 12" descr="Obraz zawierający inżynieria, Materiał kompozytowy, maszyna, stal&#10;&#10;Opis wygenerowany automatycznie">
            <a:extLst>
              <a:ext uri="{FF2B5EF4-FFF2-40B4-BE49-F238E27FC236}">
                <a16:creationId xmlns:a16="http://schemas.microsoft.com/office/drawing/2014/main" id="{B9ECAE48-BD42-1C93-CFFA-79D55AB21D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012" y="4710286"/>
            <a:ext cx="2564517" cy="1442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972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8"/>
            <a:ext cx="7651750" cy="487877"/>
          </a:xfrm>
        </p:spPr>
        <p:txBody>
          <a:bodyPr/>
          <a:lstStyle/>
          <a:p>
            <a:pPr algn="ctr"/>
            <a:r>
              <a:rPr lang="pl-PL" dirty="0">
                <a:latin typeface="voestalpine Light" panose="020B0300030000000000" pitchFamily="34" charset="-18"/>
              </a:rPr>
              <a:t>ETAP II – 1. Pędzel kwasoodporny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4"/>
          </p:nvPr>
        </p:nvSpPr>
        <p:spPr>
          <a:xfrm>
            <a:off x="3950677" y="1484313"/>
            <a:ext cx="4834304" cy="3960812"/>
          </a:xfrm>
        </p:spPr>
        <p:txBody>
          <a:bodyPr/>
          <a:lstStyle/>
          <a:p>
            <a:pPr algn="just"/>
            <a:r>
              <a:rPr lang="pl-PL" dirty="0">
                <a:latin typeface="voestalpine Light" panose="020B0300030000000000" pitchFamily="34" charset="-18"/>
              </a:rPr>
              <a:t>Nanoszenie pasty / żelu ręcznie pędzlem kwasoodpornym, stosowane jest głównie do spoin oraz do małych powierzchni. </a:t>
            </a:r>
          </a:p>
          <a:p>
            <a:pPr algn="just"/>
            <a:endParaRPr lang="pl-PL" b="1" dirty="0">
              <a:solidFill>
                <a:srgbClr val="FF0000"/>
              </a:solidFill>
              <a:latin typeface="voestalpine Light" panose="020B0300030000000000" pitchFamily="34" charset="-18"/>
            </a:endParaRPr>
          </a:p>
          <a:p>
            <a:pPr algn="ctr"/>
            <a:r>
              <a:rPr lang="pl-PL" b="1" dirty="0">
                <a:latin typeface="voestalpine Light" panose="020B0300030000000000" pitchFamily="34" charset="-18"/>
              </a:rPr>
              <a:t>STOSUJEMY</a:t>
            </a:r>
          </a:p>
          <a:p>
            <a:pPr algn="ctr"/>
            <a:endParaRPr lang="pl-PL" b="1" dirty="0">
              <a:latin typeface="voestalpine Light" panose="020B0300030000000000" pitchFamily="34" charset="-18"/>
            </a:endParaRPr>
          </a:p>
          <a:p>
            <a:pPr algn="just"/>
            <a:endParaRPr lang="pl-PL" dirty="0">
              <a:latin typeface="voestalpine Light" panose="020B0300030000000000" pitchFamily="34" charset="-18"/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80" y="2303440"/>
            <a:ext cx="3167018" cy="2983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692337"/>
              </p:ext>
            </p:extLst>
          </p:nvPr>
        </p:nvGraphicFramePr>
        <p:xfrm>
          <a:off x="3516923" y="3053594"/>
          <a:ext cx="5240215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90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51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Materia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Zastosowan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Basic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Pickling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Gel</a:t>
                      </a:r>
                      <a:endParaRPr lang="pl-PL" sz="1100" dirty="0">
                        <a:latin typeface="voestalpine Light" panose="020B0300030000000000" pitchFamily="34" charset="-1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Stal 304,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 temp. od 10 do 30 </a:t>
                      </a:r>
                      <a:r>
                        <a:rPr lang="el-GR" sz="1100" baseline="0" dirty="0">
                          <a:latin typeface="Franklin Gothic Book" panose="020B0503020102020204" pitchFamily="34" charset="0"/>
                        </a:rPr>
                        <a:t>°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C</a:t>
                      </a:r>
                      <a:endParaRPr lang="pl-PL" sz="1100" dirty="0">
                        <a:latin typeface="voestalpine Light" panose="020B0300030000000000" pitchFamily="34" charset="-1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BlueOne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Stal 304/316,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 temp. poniżej 10 </a:t>
                      </a:r>
                      <a:r>
                        <a:rPr lang="el-GR" sz="1100" baseline="0" dirty="0">
                          <a:latin typeface="Franklin Gothic Book" panose="020B0503020102020204" pitchFamily="34" charset="0"/>
                        </a:rPr>
                        <a:t>°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C</a:t>
                      </a:r>
                      <a:endParaRPr lang="pl-PL" sz="1100" dirty="0">
                        <a:latin typeface="voestalpine Light" panose="020B0300030000000000" pitchFamily="34" charset="-1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RedOne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1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Stal Duplex , temp. poniżej 0 </a:t>
                      </a:r>
                      <a:r>
                        <a:rPr lang="el-GR" sz="1100" baseline="0" dirty="0">
                          <a:latin typeface="Franklin Gothic Book" panose="020B0503020102020204" pitchFamily="34" charset="0"/>
                        </a:rPr>
                        <a:t>°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C</a:t>
                      </a:r>
                      <a:endParaRPr lang="pl-PL" sz="1100" dirty="0">
                        <a:latin typeface="voestalpine Light" panose="020B0300030000000000" pitchFamily="34" charset="-1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3199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8"/>
            <a:ext cx="7651750" cy="613261"/>
          </a:xfrm>
        </p:spPr>
        <p:txBody>
          <a:bodyPr/>
          <a:lstStyle/>
          <a:p>
            <a:pPr algn="ctr"/>
            <a:r>
              <a:rPr lang="pl-PL" dirty="0">
                <a:latin typeface="voestalpine Light" panose="020B0300030000000000" pitchFamily="34" charset="-18"/>
              </a:rPr>
              <a:t>ETAP II – 2. Natrysk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4"/>
          </p:nvPr>
        </p:nvSpPr>
        <p:spPr>
          <a:xfrm>
            <a:off x="3528646" y="1484313"/>
            <a:ext cx="5509846" cy="3960812"/>
          </a:xfrm>
        </p:spPr>
        <p:txBody>
          <a:bodyPr/>
          <a:lstStyle/>
          <a:p>
            <a:pPr algn="just"/>
            <a:r>
              <a:rPr lang="pl-PL" dirty="0">
                <a:latin typeface="voestalpine Light" panose="020B0300030000000000" pitchFamily="34" charset="-18"/>
              </a:rPr>
              <a:t>Metoda ta polega na natryskiwaniu żelu trawiącego na duże powierzchnie. Należy pamiętać o stosowaniu odpowiedniej ochrony BHP.</a:t>
            </a:r>
          </a:p>
          <a:p>
            <a:pPr algn="just"/>
            <a:endParaRPr lang="pl-PL" b="1" dirty="0">
              <a:solidFill>
                <a:srgbClr val="FF0000"/>
              </a:solidFill>
              <a:latin typeface="voestalpine Light" panose="020B0300030000000000" pitchFamily="34" charset="-18"/>
            </a:endParaRPr>
          </a:p>
          <a:p>
            <a:pPr algn="ctr"/>
            <a:r>
              <a:rPr lang="pl-PL" b="1" dirty="0">
                <a:latin typeface="voestalpine Light" panose="020B0300030000000000" pitchFamily="34" charset="-18"/>
              </a:rPr>
              <a:t>STOSUJEMY</a:t>
            </a:r>
          </a:p>
          <a:p>
            <a:pPr algn="ctr"/>
            <a:endParaRPr lang="pl-PL" b="1" dirty="0">
              <a:latin typeface="voestalpine Light" panose="020B0300030000000000" pitchFamily="34" charset="-18"/>
            </a:endParaRPr>
          </a:p>
          <a:p>
            <a:pPr algn="just"/>
            <a:endParaRPr lang="pl-PL" dirty="0">
              <a:latin typeface="voestalpine Light" panose="020B0300030000000000" pitchFamily="34" charset="-18"/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9487127"/>
              </p:ext>
            </p:extLst>
          </p:nvPr>
        </p:nvGraphicFramePr>
        <p:xfrm>
          <a:off x="3516923" y="3053594"/>
          <a:ext cx="5554987" cy="2536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3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51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7351"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Materia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Zastosowan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1096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GreenOne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Spra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Odświeżenie powierzchni stali nierdzewnej lub kwasoodpornej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7288474"/>
                  </a:ext>
                </a:extLst>
              </a:tr>
              <a:tr h="781096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RedOne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baseline="0" dirty="0" err="1">
                          <a:latin typeface="voestalpine Light" panose="020B0300030000000000" pitchFamily="34" charset="-18"/>
                        </a:rPr>
                        <a:t>Pickling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 Spray 240</a:t>
                      </a:r>
                      <a:endParaRPr lang="pl-PL" sz="1100" dirty="0">
                        <a:latin typeface="voestalpine Light" panose="020B0300030000000000" pitchFamily="34" charset="-1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Stal 304/316,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 temp. od 5 do 30 </a:t>
                      </a:r>
                      <a:r>
                        <a:rPr lang="el-GR" sz="1100" baseline="0" dirty="0">
                          <a:latin typeface="Franklin Gothic Book" panose="020B0503020102020204" pitchFamily="34" charset="0"/>
                        </a:rPr>
                        <a:t>°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C. Czas trawienia będzie uzależniony od gatunku stali oraz temperatur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351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Duplex Spr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Stal 254 SMO, duplex, super duplex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6" name="Obraz 5" descr="Obraz zawierający budynek, żółty, osoba, podłoga&#10;&#10;Opis wygenerowany automatycznie">
            <a:extLst>
              <a:ext uri="{FF2B5EF4-FFF2-40B4-BE49-F238E27FC236}">
                <a16:creationId xmlns:a16="http://schemas.microsoft.com/office/drawing/2014/main" id="{5F9C0BC8-DC1C-F433-B3D0-C7A7C211A2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83" y="1093291"/>
            <a:ext cx="2806540" cy="498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30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23850" y="179388"/>
            <a:ext cx="7651750" cy="487877"/>
          </a:xfrm>
        </p:spPr>
        <p:txBody>
          <a:bodyPr/>
          <a:lstStyle/>
          <a:p>
            <a:pPr algn="ctr"/>
            <a:r>
              <a:rPr lang="pl-PL" dirty="0">
                <a:latin typeface="voestalpine Light" panose="020B0300030000000000" pitchFamily="34" charset="-18"/>
              </a:rPr>
              <a:t>ETAP II – 3. Kąpiel zanurzeniowa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4"/>
          </p:nvPr>
        </p:nvSpPr>
        <p:spPr>
          <a:xfrm>
            <a:off x="3575538" y="1484313"/>
            <a:ext cx="5568462" cy="3960812"/>
          </a:xfrm>
        </p:spPr>
        <p:txBody>
          <a:bodyPr/>
          <a:lstStyle/>
          <a:p>
            <a:pPr algn="just"/>
            <a:r>
              <a:rPr lang="pl-PL" dirty="0">
                <a:latin typeface="voestalpine Light" panose="020B0300030000000000" pitchFamily="34" charset="-18"/>
              </a:rPr>
              <a:t>Kąpiel trawiącą wykonuje się w przeznaczonych do tego odpowiednich wannach przy zachowaniu odpowiednich warunków bezpieczeństwa.</a:t>
            </a:r>
          </a:p>
          <a:p>
            <a:pPr algn="just"/>
            <a:endParaRPr lang="pl-PL" b="1" dirty="0">
              <a:solidFill>
                <a:srgbClr val="FF0000"/>
              </a:solidFill>
              <a:latin typeface="voestalpine Light" panose="020B0300030000000000" pitchFamily="34" charset="-18"/>
            </a:endParaRPr>
          </a:p>
          <a:p>
            <a:pPr algn="ctr"/>
            <a:r>
              <a:rPr lang="pl-PL" b="1" dirty="0">
                <a:latin typeface="voestalpine Light" panose="020B0300030000000000" pitchFamily="34" charset="-18"/>
              </a:rPr>
              <a:t>STOSUJEMY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ATE</a:t>
            </a:r>
            <a:endParaRPr lang="en-US" dirty="0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TITLE</a:t>
            </a:r>
            <a:endParaRPr lang="en-US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66C7B4C-F0E5-46B7-912F-72F055302548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2953046"/>
              </p:ext>
            </p:extLst>
          </p:nvPr>
        </p:nvGraphicFramePr>
        <p:xfrm>
          <a:off x="3589013" y="3347305"/>
          <a:ext cx="5554987" cy="1132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3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51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Materia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Zastosowan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Avesta</a:t>
                      </a:r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 </a:t>
                      </a:r>
                      <a:r>
                        <a:rPr lang="pl-PL" sz="1100" dirty="0" err="1">
                          <a:latin typeface="voestalpine Light" panose="020B0300030000000000" pitchFamily="34" charset="-18"/>
                        </a:rPr>
                        <a:t>Pickling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 Bath 302</a:t>
                      </a:r>
                      <a:endParaRPr lang="pl-PL" sz="1100" dirty="0">
                        <a:latin typeface="voestalpine Light" panose="020B0300030000000000" pitchFamily="34" charset="-1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latin typeface="voestalpine Light" panose="020B0300030000000000" pitchFamily="34" charset="-18"/>
                        </a:rPr>
                        <a:t>Stal 304/316,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 temp. od 0 do 30 </a:t>
                      </a:r>
                      <a:r>
                        <a:rPr lang="el-GR" sz="1100" baseline="0" dirty="0">
                          <a:latin typeface="Franklin Gothic Book" panose="020B0503020102020204" pitchFamily="34" charset="0"/>
                        </a:rPr>
                        <a:t>°</a:t>
                      </a:r>
                      <a:r>
                        <a:rPr lang="pl-PL" sz="1100" baseline="0" dirty="0">
                          <a:latin typeface="voestalpine Light" panose="020B0300030000000000" pitchFamily="34" charset="-18"/>
                        </a:rPr>
                        <a:t>C. Czas trawienia będzie uzależniony od gatunku stali oraz temperatury. Dostarczany w formie koncentratu.</a:t>
                      </a:r>
                      <a:endParaRPr lang="pl-PL" sz="1100" dirty="0">
                        <a:latin typeface="voestalpine Light" panose="020B0300030000000000" pitchFamily="34" charset="-1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Obraz 9" descr="Obraz zawierający łódź, statek, w pomieszczeniu&#10;&#10;Opis wygenerowany automatycznie">
            <a:extLst>
              <a:ext uri="{FF2B5EF4-FFF2-40B4-BE49-F238E27FC236}">
                <a16:creationId xmlns:a16="http://schemas.microsoft.com/office/drawing/2014/main" id="{D2D4DF2F-15B6-3498-72FC-3DFA455042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1022889"/>
            <a:ext cx="2889950" cy="513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393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r2gW1N80OWh1ZZc7k4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r2gW1N80OWh1ZZc7k4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h7DYt1NUGieCFohzQU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ZbZAwK2kqfd.V__00vT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jPZTQY0UOYjo7M9ANch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XjthiXzJnZAeeqM4p1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0.EhcNBXYAxbEBypX_M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r2gW1N80OWh1ZZc7k4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UT_ptJWt4wDEezBgjLb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085cvAEqDBygUM79ARw"/>
</p:tagLst>
</file>

<file path=ppt/theme/theme1.xml><?xml version="1.0" encoding="utf-8"?>
<a:theme xmlns:a="http://schemas.openxmlformats.org/drawingml/2006/main" name="VABW Presentation Base Form EN 2013">
  <a:themeElements>
    <a:clrScheme name="Farben_voestalpine">
      <a:dk1>
        <a:srgbClr val="333333"/>
      </a:dk1>
      <a:lt1>
        <a:srgbClr val="FFFFFF"/>
      </a:lt1>
      <a:dk2>
        <a:srgbClr val="0082B4"/>
      </a:dk2>
      <a:lt2>
        <a:srgbClr val="E3E3E3"/>
      </a:lt2>
      <a:accent1>
        <a:srgbClr val="50AACD"/>
      </a:accent1>
      <a:accent2>
        <a:srgbClr val="91C8DC"/>
      </a:accent2>
      <a:accent3>
        <a:srgbClr val="C8E1F0"/>
      </a:accent3>
      <a:accent4>
        <a:srgbClr val="C4C4C4"/>
      </a:accent4>
      <a:accent5>
        <a:srgbClr val="6E6490"/>
      </a:accent5>
      <a:accent6>
        <a:srgbClr val="866883"/>
      </a:accent6>
      <a:hlink>
        <a:srgbClr val="966C5F"/>
      </a:hlink>
      <a:folHlink>
        <a:srgbClr val="99A06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Ny_Mall">
  <a:themeElements>
    <a:clrScheme name="Ny_Mall 1">
      <a:dk1>
        <a:srgbClr val="1B1B1B"/>
      </a:dk1>
      <a:lt1>
        <a:srgbClr val="FFFFFF"/>
      </a:lt1>
      <a:dk2>
        <a:srgbClr val="1B1B1B"/>
      </a:dk2>
      <a:lt2>
        <a:srgbClr val="CECED0"/>
      </a:lt2>
      <a:accent1>
        <a:srgbClr val="A9AAAD"/>
      </a:accent1>
      <a:accent2>
        <a:srgbClr val="87888C"/>
      </a:accent2>
      <a:accent3>
        <a:srgbClr val="FFFFFF"/>
      </a:accent3>
      <a:accent4>
        <a:srgbClr val="151515"/>
      </a:accent4>
      <a:accent5>
        <a:srgbClr val="D1D2D3"/>
      </a:accent5>
      <a:accent6>
        <a:srgbClr val="7A7B7E"/>
      </a:accent6>
      <a:hlink>
        <a:srgbClr val="515357"/>
      </a:hlink>
      <a:folHlink>
        <a:srgbClr val="515357"/>
      </a:folHlink>
    </a:clrScheme>
    <a:fontScheme name="Ny_Mal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y_Mall 1">
        <a:dk1>
          <a:srgbClr val="1B1B1B"/>
        </a:dk1>
        <a:lt1>
          <a:srgbClr val="FFFFFF"/>
        </a:lt1>
        <a:dk2>
          <a:srgbClr val="1B1B1B"/>
        </a:dk2>
        <a:lt2>
          <a:srgbClr val="CECED0"/>
        </a:lt2>
        <a:accent1>
          <a:srgbClr val="A9AAAD"/>
        </a:accent1>
        <a:accent2>
          <a:srgbClr val="87888C"/>
        </a:accent2>
        <a:accent3>
          <a:srgbClr val="FFFFFF"/>
        </a:accent3>
        <a:accent4>
          <a:srgbClr val="151515"/>
        </a:accent4>
        <a:accent5>
          <a:srgbClr val="D1D2D3"/>
        </a:accent5>
        <a:accent6>
          <a:srgbClr val="7A7B7E"/>
        </a:accent6>
        <a:hlink>
          <a:srgbClr val="515357"/>
        </a:hlink>
        <a:folHlink>
          <a:srgbClr val="51535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v_master_de">
  <a:themeElements>
    <a:clrScheme name="Benutzerdefiniert 8">
      <a:dk1>
        <a:srgbClr val="333333"/>
      </a:dk1>
      <a:lt1>
        <a:srgbClr val="FFFFFF"/>
      </a:lt1>
      <a:dk2>
        <a:srgbClr val="1D314E"/>
      </a:dk2>
      <a:lt2>
        <a:srgbClr val="E3E3E3"/>
      </a:lt2>
      <a:accent1>
        <a:srgbClr val="324568"/>
      </a:accent1>
      <a:accent2>
        <a:srgbClr val="5B6988"/>
      </a:accent2>
      <a:accent3>
        <a:srgbClr val="8C94AD"/>
      </a:accent3>
      <a:accent4>
        <a:srgbClr val="B1B1B1"/>
      </a:accent4>
      <a:accent5>
        <a:srgbClr val="C0C0C0"/>
      </a:accent5>
      <a:accent6>
        <a:srgbClr val="CFCFCF"/>
      </a:accent6>
      <a:hlink>
        <a:srgbClr val="0082B4"/>
      </a:hlink>
      <a:folHlink>
        <a:srgbClr val="0082B4"/>
      </a:folHlink>
    </a:clrScheme>
    <a:fontScheme name="voestalpine">
      <a:majorFont>
        <a:latin typeface="voestalpine"/>
        <a:ea typeface=""/>
        <a:cs typeface=""/>
      </a:majorFont>
      <a:minorFont>
        <a:latin typeface="voestalpin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_master_de.potx [Schreibgeschützt]" id="{4E2562CF-4235-44A0-A323-6576F576A47D}" vid="{C17D8B92-B0DA-4648-B771-27E9C7235BBB}"/>
    </a:ext>
  </a:extLst>
</a:theme>
</file>

<file path=ppt/theme/theme4.xml><?xml version="1.0" encoding="utf-8"?>
<a:theme xmlns:a="http://schemas.openxmlformats.org/drawingml/2006/main" name="1_Böhler_Welding_Template_16_9_EN">
  <a:themeElements>
    <a:clrScheme name="Böhler Welding">
      <a:dk1>
        <a:srgbClr val="626262"/>
      </a:dk1>
      <a:lt1>
        <a:srgbClr val="FFFFFF"/>
      </a:lt1>
      <a:dk2>
        <a:srgbClr val="7D7D7D"/>
      </a:dk2>
      <a:lt2>
        <a:srgbClr val="E3E3E3"/>
      </a:lt2>
      <a:accent1>
        <a:srgbClr val="1D314E"/>
      </a:accent1>
      <a:accent2>
        <a:srgbClr val="778395"/>
      </a:accent2>
      <a:accent3>
        <a:srgbClr val="A5ADB8"/>
      </a:accent3>
      <a:accent4>
        <a:srgbClr val="D2D6DC"/>
      </a:accent4>
      <a:accent5>
        <a:srgbClr val="E3E3E3"/>
      </a:accent5>
      <a:accent6>
        <a:srgbClr val="626262"/>
      </a:accent6>
      <a:hlink>
        <a:srgbClr val="002045"/>
      </a:hlink>
      <a:folHlink>
        <a:srgbClr val="66798F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U weldCare_Strategy_Jan-15_2020.potx" id="{A75AD889-3F88-4649-8A8A-7C91168804BE}" vid="{6CBB9E1C-7423-4C66-B08B-E58D05C09B5F}"/>
    </a:ext>
  </a:extLst>
</a:theme>
</file>

<file path=ppt/theme/theme5.xml><?xml version="1.0" encoding="utf-8"?>
<a:theme xmlns:a="http://schemas.openxmlformats.org/drawingml/2006/main" name="v_master_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52</TotalTime>
  <Words>1587</Words>
  <Application>Microsoft Office PowerPoint</Application>
  <PresentationFormat>Pokaz na ekranie (4:3)</PresentationFormat>
  <Paragraphs>284</Paragraphs>
  <Slides>35</Slides>
  <Notes>1</Notes>
  <HiddenSlides>0</HiddenSlides>
  <MMClips>0</MMClips>
  <ScaleCrop>false</ScaleCrop>
  <HeadingPairs>
    <vt:vector size="8" baseType="variant">
      <vt:variant>
        <vt:lpstr>Używane czcionki</vt:lpstr>
      </vt:variant>
      <vt:variant>
        <vt:i4>9</vt:i4>
      </vt:variant>
      <vt:variant>
        <vt:lpstr>Motyw</vt:lpstr>
      </vt:variant>
      <vt:variant>
        <vt:i4>5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35</vt:i4>
      </vt:variant>
    </vt:vector>
  </HeadingPairs>
  <TitlesOfParts>
    <vt:vector size="51" baseType="lpstr">
      <vt:lpstr>Arial</vt:lpstr>
      <vt:lpstr>Calibri</vt:lpstr>
      <vt:lpstr>Franklin Gothic Book</vt:lpstr>
      <vt:lpstr>Times New Roman</vt:lpstr>
      <vt:lpstr>voestalpine</vt:lpstr>
      <vt:lpstr>voestalpine Light</vt:lpstr>
      <vt:lpstr>voestalpine Medium</vt:lpstr>
      <vt:lpstr>Wingdings</vt:lpstr>
      <vt:lpstr>ヒラギノ角ゴ Pro W3</vt:lpstr>
      <vt:lpstr>VABW Presentation Base Form EN 2013</vt:lpstr>
      <vt:lpstr>Ny_Mall</vt:lpstr>
      <vt:lpstr>1_v_master_de</vt:lpstr>
      <vt:lpstr>1_Böhler_Welding_Template_16_9_EN</vt:lpstr>
      <vt:lpstr>v_master_de</vt:lpstr>
      <vt:lpstr>think-cell Slide</vt:lpstr>
      <vt:lpstr>think-cell Folie</vt:lpstr>
      <vt:lpstr>Prezentacja programu PowerPoint</vt:lpstr>
      <vt:lpstr>Malmo, Szwecja </vt:lpstr>
      <vt:lpstr>Korzyści ze współpracy z voestalpine weldCare</vt:lpstr>
      <vt:lpstr>Proces trawienia oraz pasywacji</vt:lpstr>
      <vt:lpstr>ETAP I – przygotowanie powierzchni</vt:lpstr>
      <vt:lpstr>ETAP II – trawienie</vt:lpstr>
      <vt:lpstr>ETAP II – 1. Pędzel kwasoodporny</vt:lpstr>
      <vt:lpstr>ETAP II – 2. Natrysk</vt:lpstr>
      <vt:lpstr>ETAP II – 3. Kąpiel zanurzeniowa</vt:lpstr>
      <vt:lpstr>ETAP III – Pasywacja</vt:lpstr>
      <vt:lpstr>Warstwa pasywująca cd.</vt:lpstr>
      <vt:lpstr>Kompletne portfolio – Różne Opakowania</vt:lpstr>
      <vt:lpstr>Produkty wolne od Nox oraz  o obniżonej emisji NOx</vt:lpstr>
      <vt:lpstr>Produkty o obniżonej lub zerowej  emisji NOx</vt:lpstr>
      <vt:lpstr>Produkty wolne od Nox oraz  o obniżonej emisji NOx</vt:lpstr>
      <vt:lpstr>Doskonała przyczepność  i wysoka wydajność</vt:lpstr>
      <vt:lpstr>PRODUCT PROGRAM OVERVIEW RedOne® Spray 240 - Przyczepność</vt:lpstr>
      <vt:lpstr>Doskonała przyczepność i wysoka wydajność</vt:lpstr>
      <vt:lpstr>Doskonała przyczepność i wysoka wydajność</vt:lpstr>
      <vt:lpstr>Doskonała przyczepność i wysoka wydajność</vt:lpstr>
      <vt:lpstr> RedOne® Spray 240</vt:lpstr>
      <vt:lpstr>Duplex Spray 250</vt:lpstr>
      <vt:lpstr> BlueOne® Paste 130</vt:lpstr>
      <vt:lpstr> Pickling bath - product portfolio</vt:lpstr>
      <vt:lpstr> Passivation - product portfolio</vt:lpstr>
      <vt:lpstr> Akcesoria</vt:lpstr>
      <vt:lpstr>Avesta MolyDrop 960</vt:lpstr>
      <vt:lpstr>PORADNIK  TRAWIENIA  AVESTA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Uddeholms AB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, 54pt</dc:title>
  <dc:creator>Eva S</dc:creator>
  <cp:lastModifiedBy>Pozniak Pawel</cp:lastModifiedBy>
  <cp:revision>141</cp:revision>
  <cp:lastPrinted>2013-11-08T12:55:33Z</cp:lastPrinted>
  <dcterms:created xsi:type="dcterms:W3CDTF">2013-09-30T08:32:10Z</dcterms:created>
  <dcterms:modified xsi:type="dcterms:W3CDTF">2024-10-24T19:55:51Z</dcterms:modified>
</cp:coreProperties>
</file>